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3" r:id="rId5"/>
  </p:sldMasterIdLst>
  <p:notesMasterIdLst>
    <p:notesMasterId r:id="rId15"/>
  </p:notesMasterIdLst>
  <p:handoutMasterIdLst>
    <p:handoutMasterId r:id="rId16"/>
  </p:handoutMasterIdLst>
  <p:sldIdLst>
    <p:sldId id="427" r:id="rId6"/>
    <p:sldId id="424" r:id="rId7"/>
    <p:sldId id="431" r:id="rId8"/>
    <p:sldId id="421" r:id="rId9"/>
    <p:sldId id="422" r:id="rId10"/>
    <p:sldId id="423" r:id="rId11"/>
    <p:sldId id="432" r:id="rId12"/>
    <p:sldId id="425" r:id="rId13"/>
    <p:sldId id="430" r:id="rId14"/>
  </p:sldIdLst>
  <p:sldSz cx="9144000" cy="5143500" type="screen16x9"/>
  <p:notesSz cx="9309100" cy="70231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7">
          <p15:clr>
            <a:srgbClr val="A4A3A4"/>
          </p15:clr>
        </p15:guide>
        <p15:guide id="2" orient="horz" pos="2176">
          <p15:clr>
            <a:srgbClr val="A4A3A4"/>
          </p15:clr>
        </p15:guide>
        <p15:guide id="3" pos="1901">
          <p15:clr>
            <a:srgbClr val="A4A3A4"/>
          </p15:clr>
        </p15:guide>
        <p15:guide id="4" pos="3876">
          <p15:clr>
            <a:srgbClr val="A4A3A4"/>
          </p15:clr>
        </p15:guide>
      </p15:sldGuideLst>
    </p:ext>
    <p:ext uri="{2D200454-40CA-4A62-9FC3-DE9A4176ACB9}">
      <p15:notesGuideLst xmlns:p15="http://schemas.microsoft.com/office/powerpoint/2012/main">
        <p15:guide id="1" orient="horz" pos="2212" userDrawn="1">
          <p15:clr>
            <a:srgbClr val="A4A3A4"/>
          </p15:clr>
        </p15:guide>
        <p15:guide id="2" pos="293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3D84"/>
    <a:srgbClr val="263C85"/>
    <a:srgbClr val="F1ED37"/>
    <a:srgbClr val="71C91C"/>
    <a:srgbClr val="0F3859"/>
    <a:srgbClr val="9BB415"/>
    <a:srgbClr val="F9792B"/>
    <a:srgbClr val="A3A4A7"/>
    <a:srgbClr val="939598"/>
    <a:srgbClr val="007F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49" autoAdjust="0"/>
    <p:restoredTop sz="84543" autoAdjust="0"/>
  </p:normalViewPr>
  <p:slideViewPr>
    <p:cSldViewPr snapToGrid="0" showGuides="1">
      <p:cViewPr varScale="1">
        <p:scale>
          <a:sx n="97" d="100"/>
          <a:sy n="97" d="100"/>
        </p:scale>
        <p:origin x="1440" y="77"/>
      </p:cViewPr>
      <p:guideLst>
        <p:guide orient="horz" pos="1077"/>
        <p:guide orient="horz" pos="2176"/>
        <p:guide pos="1901"/>
        <p:guide pos="3876"/>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81" d="100"/>
          <a:sy n="81" d="100"/>
        </p:scale>
        <p:origin x="-3162" y="-102"/>
      </p:cViewPr>
      <p:guideLst>
        <p:guide orient="horz" pos="2212"/>
        <p:guide pos="293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034787" cy="351276"/>
          </a:xfrm>
          <a:prstGeom prst="rect">
            <a:avLst/>
          </a:prstGeom>
        </p:spPr>
        <p:txBody>
          <a:bodyPr vert="horz" lIns="91915" tIns="45958" rIns="91915" bIns="45958" rtlCol="0"/>
          <a:lstStyle>
            <a:lvl1pPr algn="l">
              <a:defRPr sz="1200"/>
            </a:lvl1pPr>
          </a:lstStyle>
          <a:p>
            <a:endParaRPr lang="en-US"/>
          </a:p>
        </p:txBody>
      </p:sp>
      <p:sp>
        <p:nvSpPr>
          <p:cNvPr id="3" name="Date Placeholder 2"/>
          <p:cNvSpPr>
            <a:spLocks noGrp="1"/>
          </p:cNvSpPr>
          <p:nvPr>
            <p:ph type="dt" sz="quarter" idx="1"/>
          </p:nvPr>
        </p:nvSpPr>
        <p:spPr>
          <a:xfrm>
            <a:off x="5272207" y="1"/>
            <a:ext cx="4034787" cy="351276"/>
          </a:xfrm>
          <a:prstGeom prst="rect">
            <a:avLst/>
          </a:prstGeom>
        </p:spPr>
        <p:txBody>
          <a:bodyPr vert="horz" lIns="91915" tIns="45958" rIns="91915" bIns="45958" rtlCol="0"/>
          <a:lstStyle>
            <a:lvl1pPr algn="r">
              <a:defRPr sz="1200"/>
            </a:lvl1pPr>
          </a:lstStyle>
          <a:p>
            <a:fld id="{FF8E6447-1AF7-45FC-B6F3-B45DEEC38ECA}" type="datetimeFigureOut">
              <a:rPr lang="en-US" smtClean="0"/>
              <a:t>3/25/2021</a:t>
            </a:fld>
            <a:endParaRPr lang="en-US"/>
          </a:p>
        </p:txBody>
      </p:sp>
      <p:sp>
        <p:nvSpPr>
          <p:cNvPr id="4" name="Footer Placeholder 3"/>
          <p:cNvSpPr>
            <a:spLocks noGrp="1"/>
          </p:cNvSpPr>
          <p:nvPr>
            <p:ph type="ftr" sz="quarter" idx="2"/>
          </p:nvPr>
        </p:nvSpPr>
        <p:spPr>
          <a:xfrm>
            <a:off x="1" y="6670618"/>
            <a:ext cx="4034787" cy="351276"/>
          </a:xfrm>
          <a:prstGeom prst="rect">
            <a:avLst/>
          </a:prstGeom>
        </p:spPr>
        <p:txBody>
          <a:bodyPr vert="horz" lIns="91915" tIns="45958" rIns="91915" bIns="45958" rtlCol="0" anchor="b"/>
          <a:lstStyle>
            <a:lvl1pPr algn="l">
              <a:defRPr sz="1200"/>
            </a:lvl1pPr>
          </a:lstStyle>
          <a:p>
            <a:endParaRPr lang="en-US"/>
          </a:p>
        </p:txBody>
      </p:sp>
      <p:sp>
        <p:nvSpPr>
          <p:cNvPr id="5" name="Slide Number Placeholder 4"/>
          <p:cNvSpPr>
            <a:spLocks noGrp="1"/>
          </p:cNvSpPr>
          <p:nvPr>
            <p:ph type="sldNum" sz="quarter" idx="3"/>
          </p:nvPr>
        </p:nvSpPr>
        <p:spPr>
          <a:xfrm>
            <a:off x="5272207" y="6670618"/>
            <a:ext cx="4034787" cy="351276"/>
          </a:xfrm>
          <a:prstGeom prst="rect">
            <a:avLst/>
          </a:prstGeom>
        </p:spPr>
        <p:txBody>
          <a:bodyPr vert="horz" lIns="91915" tIns="45958" rIns="91915" bIns="45958" rtlCol="0" anchor="b"/>
          <a:lstStyle>
            <a:lvl1pPr algn="r">
              <a:defRPr sz="1200"/>
            </a:lvl1pPr>
          </a:lstStyle>
          <a:p>
            <a:fld id="{B9B2EB33-711F-41CA-8F73-C56B715F8B97}" type="slidenum">
              <a:rPr lang="en-US" smtClean="0"/>
              <a:t>‹#›</a:t>
            </a:fld>
            <a:endParaRPr lang="en-US"/>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33943" cy="351155"/>
          </a:xfrm>
          <a:prstGeom prst="rect">
            <a:avLst/>
          </a:prstGeom>
        </p:spPr>
        <p:txBody>
          <a:bodyPr vert="horz" lIns="93662" tIns="46831" rIns="93662" bIns="46831" rtlCol="0"/>
          <a:lstStyle>
            <a:lvl1pPr algn="l">
              <a:defRPr sz="1200"/>
            </a:lvl1pPr>
          </a:lstStyle>
          <a:p>
            <a:endParaRPr lang="en-US" dirty="0"/>
          </a:p>
        </p:txBody>
      </p:sp>
      <p:sp>
        <p:nvSpPr>
          <p:cNvPr id="3" name="Date Placeholder 2"/>
          <p:cNvSpPr>
            <a:spLocks noGrp="1"/>
          </p:cNvSpPr>
          <p:nvPr>
            <p:ph type="dt" idx="1"/>
          </p:nvPr>
        </p:nvSpPr>
        <p:spPr>
          <a:xfrm>
            <a:off x="5273004" y="0"/>
            <a:ext cx="4033943" cy="351155"/>
          </a:xfrm>
          <a:prstGeom prst="rect">
            <a:avLst/>
          </a:prstGeom>
        </p:spPr>
        <p:txBody>
          <a:bodyPr vert="horz" lIns="93662" tIns="46831" rIns="93662" bIns="46831" rtlCol="0"/>
          <a:lstStyle>
            <a:lvl1pPr algn="r">
              <a:defRPr sz="1200"/>
            </a:lvl1pPr>
          </a:lstStyle>
          <a:p>
            <a:fld id="{7A790463-911A-4750-AD2E-671879DD54F4}" type="datetimeFigureOut">
              <a:rPr lang="en-US" smtClean="0"/>
              <a:pPr/>
              <a:t>3/25/2021</a:t>
            </a:fld>
            <a:endParaRPr lang="en-US" dirty="0"/>
          </a:p>
        </p:txBody>
      </p:sp>
      <p:sp>
        <p:nvSpPr>
          <p:cNvPr id="4" name="Slide Image Placeholder 3"/>
          <p:cNvSpPr>
            <a:spLocks noGrp="1" noRot="1" noChangeAspect="1"/>
          </p:cNvSpPr>
          <p:nvPr>
            <p:ph type="sldImg" idx="2"/>
          </p:nvPr>
        </p:nvSpPr>
        <p:spPr>
          <a:xfrm>
            <a:off x="2312988" y="527050"/>
            <a:ext cx="4683125" cy="2633663"/>
          </a:xfrm>
          <a:prstGeom prst="rect">
            <a:avLst/>
          </a:prstGeom>
          <a:noFill/>
          <a:ln w="12700">
            <a:solidFill>
              <a:prstClr val="black"/>
            </a:solidFill>
          </a:ln>
        </p:spPr>
        <p:txBody>
          <a:bodyPr vert="horz" lIns="93662" tIns="46831" rIns="93662" bIns="46831" rtlCol="0" anchor="ctr"/>
          <a:lstStyle/>
          <a:p>
            <a:endParaRPr lang="en-US" dirty="0"/>
          </a:p>
        </p:txBody>
      </p:sp>
      <p:sp>
        <p:nvSpPr>
          <p:cNvPr id="5" name="Notes Placeholder 4"/>
          <p:cNvSpPr>
            <a:spLocks noGrp="1"/>
          </p:cNvSpPr>
          <p:nvPr>
            <p:ph type="body" sz="quarter" idx="3"/>
          </p:nvPr>
        </p:nvSpPr>
        <p:spPr>
          <a:xfrm>
            <a:off x="930911" y="3335973"/>
            <a:ext cx="7447280" cy="3160395"/>
          </a:xfrm>
          <a:prstGeom prst="rect">
            <a:avLst/>
          </a:prstGeom>
        </p:spPr>
        <p:txBody>
          <a:bodyPr vert="horz" lIns="93662" tIns="46831" rIns="93662" bIns="4683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670727"/>
            <a:ext cx="4033943" cy="351155"/>
          </a:xfrm>
          <a:prstGeom prst="rect">
            <a:avLst/>
          </a:prstGeom>
        </p:spPr>
        <p:txBody>
          <a:bodyPr vert="horz" lIns="93662" tIns="46831" rIns="93662" bIns="46831"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73004" y="6670727"/>
            <a:ext cx="4033943" cy="351155"/>
          </a:xfrm>
          <a:prstGeom prst="rect">
            <a:avLst/>
          </a:prstGeom>
        </p:spPr>
        <p:txBody>
          <a:bodyPr vert="horz" lIns="93662" tIns="46831" rIns="93662" bIns="46831"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accent2"/>
              </a:buClr>
            </a:pPr>
            <a:r>
              <a:rPr lang="en-US" sz="1200" dirty="0"/>
              <a:t>The monarch butterfly migrates from Canada to Mexico every year to escape the cold and find food sources. Scientists follow their paths because monarchs are important for biodiversity, pollination and because they are in danger of becoming extinct. </a:t>
            </a:r>
          </a:p>
          <a:p>
            <a:pPr>
              <a:buClr>
                <a:schemeClr val="accent2"/>
              </a:buClr>
            </a:pPr>
            <a:endParaRPr lang="en-US" sz="300" dirty="0"/>
          </a:p>
          <a:p>
            <a:pPr>
              <a:buClr>
                <a:schemeClr val="accent2"/>
              </a:buClr>
            </a:pPr>
            <a:r>
              <a:rPr lang="en-US" sz="1200" dirty="0"/>
              <a:t>Biologists at TxDOT found that monarchs travel along the same paths as humans! During their migration, they fly near the Interstate 35 corridor, the major highway going from north to south Texas. TxDOT planted native flowering plants to create pollinator gardens at rest stops along I-35. </a:t>
            </a:r>
          </a:p>
          <a:p>
            <a:pPr>
              <a:buClr>
                <a:schemeClr val="accent2"/>
              </a:buClr>
            </a:pPr>
            <a:endParaRPr lang="en-US" sz="300" dirty="0"/>
          </a:p>
          <a:p>
            <a:pPr>
              <a:buClr>
                <a:schemeClr val="accent2"/>
              </a:buClr>
            </a:pPr>
            <a:r>
              <a:rPr lang="en-US" sz="1200" dirty="0"/>
              <a:t>TxDOT plants 3,500 acres of wildflowers each year to help protect pollinators. </a:t>
            </a:r>
            <a:endParaRPr lang="en-US" sz="800" dirty="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784068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accent2"/>
              </a:buClr>
            </a:pPr>
            <a:r>
              <a:rPr lang="en-US" sz="1400" dirty="0"/>
              <a:t>TxDOT has Monarch migration runs along I-35 through major cities in Texas like Fort Worth, Waco, Austin, San Marcos, San Antonio, Cotulla, and Laredo. </a:t>
            </a:r>
          </a:p>
          <a:p>
            <a:pPr>
              <a:buClr>
                <a:schemeClr val="accent2"/>
              </a:buClr>
            </a:pPr>
            <a:endParaRPr lang="en-US" sz="400" dirty="0"/>
          </a:p>
          <a:p>
            <a:pPr>
              <a:buClr>
                <a:schemeClr val="accent2"/>
              </a:buClr>
            </a:pPr>
            <a:r>
              <a:rPr lang="en-US" sz="1400" dirty="0"/>
              <a:t>View Monarchs and other pollinators at TxDOT’s Safety Rest Areas along I-35:</a:t>
            </a:r>
          </a:p>
          <a:p>
            <a:pPr lvl="1">
              <a:buClr>
                <a:srgbClr val="F9792B"/>
              </a:buClr>
              <a:buFont typeface="Segoe MDL2 Assets" panose="050A0102010101010101" pitchFamily="18" charset="0"/>
              <a:buChar char=""/>
            </a:pPr>
            <a:r>
              <a:rPr lang="en-US" sz="1400" dirty="0"/>
              <a:t>Bell County, Mile Marker 281</a:t>
            </a:r>
          </a:p>
          <a:p>
            <a:pPr lvl="1">
              <a:buClr>
                <a:srgbClr val="F9792B"/>
              </a:buClr>
              <a:buFont typeface="Segoe MDL2 Assets" panose="050A0102010101010101" pitchFamily="18" charset="0"/>
              <a:buChar char=""/>
            </a:pPr>
            <a:r>
              <a:rPr lang="en-US" sz="1400" dirty="0"/>
              <a:t>Hill County, Mile Marker 362A</a:t>
            </a:r>
          </a:p>
          <a:p>
            <a:pPr lvl="1">
              <a:buClr>
                <a:srgbClr val="F9792B"/>
              </a:buClr>
              <a:buFont typeface="Segoe MDL2 Assets" panose="050A0102010101010101" pitchFamily="18" charset="0"/>
              <a:buChar char=""/>
            </a:pPr>
            <a:r>
              <a:rPr lang="en-US" sz="1400" dirty="0"/>
              <a:t>Medina County, Mile Marker 130</a:t>
            </a:r>
          </a:p>
          <a:p>
            <a:pPr lvl="1">
              <a:buClr>
                <a:srgbClr val="F9792B"/>
              </a:buClr>
              <a:buFont typeface="Segoe MDL2 Assets" panose="050A0102010101010101" pitchFamily="18" charset="0"/>
              <a:buChar char=""/>
            </a:pPr>
            <a:r>
              <a:rPr lang="en-US" sz="1400" dirty="0"/>
              <a:t>La Salle County, Mile Marker 59</a:t>
            </a:r>
            <a:endParaRPr lang="en-US" sz="900" dirty="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8</a:t>
            </a:fld>
            <a:endParaRPr lang="en-US" dirty="0"/>
          </a:p>
        </p:txBody>
      </p:sp>
    </p:spTree>
    <p:extLst>
      <p:ext uri="{BB962C8B-B14F-4D97-AF65-F5344CB8AC3E}">
        <p14:creationId xmlns:p14="http://schemas.microsoft.com/office/powerpoint/2010/main" val="1168318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accent2"/>
              </a:buClr>
            </a:pPr>
            <a:r>
              <a:rPr lang="en-US" sz="1400" dirty="0"/>
              <a:t>TxDOT has Monarch migration runs along I-35 through major cities in Texas like Fort Worth, Waco, Austin, San Marcos, San Antonio, Cotulla, and Laredo. </a:t>
            </a:r>
          </a:p>
          <a:p>
            <a:pPr>
              <a:buClr>
                <a:schemeClr val="accent2"/>
              </a:buClr>
            </a:pPr>
            <a:endParaRPr lang="en-US" sz="400" dirty="0"/>
          </a:p>
          <a:p>
            <a:pPr>
              <a:buClr>
                <a:schemeClr val="accent2"/>
              </a:buClr>
            </a:pPr>
            <a:r>
              <a:rPr lang="en-US" sz="1400" dirty="0"/>
              <a:t>View Monarchs and other pollinators at TxDOT’s Safety Rest Areas along I-35:</a:t>
            </a:r>
          </a:p>
          <a:p>
            <a:pPr lvl="1">
              <a:buClr>
                <a:srgbClr val="F9792B"/>
              </a:buClr>
              <a:buFont typeface="Segoe MDL2 Assets" panose="050A0102010101010101" pitchFamily="18" charset="0"/>
              <a:buChar char=""/>
            </a:pPr>
            <a:r>
              <a:rPr lang="en-US" sz="1400" dirty="0"/>
              <a:t>Bell County, Mile Marker 281</a:t>
            </a:r>
          </a:p>
          <a:p>
            <a:pPr lvl="1">
              <a:buClr>
                <a:srgbClr val="F9792B"/>
              </a:buClr>
              <a:buFont typeface="Segoe MDL2 Assets" panose="050A0102010101010101" pitchFamily="18" charset="0"/>
              <a:buChar char=""/>
            </a:pPr>
            <a:r>
              <a:rPr lang="en-US" sz="1400" dirty="0"/>
              <a:t>Hill County, Mile Marker 362A</a:t>
            </a:r>
          </a:p>
          <a:p>
            <a:pPr lvl="1">
              <a:buClr>
                <a:srgbClr val="F9792B"/>
              </a:buClr>
              <a:buFont typeface="Segoe MDL2 Assets" panose="050A0102010101010101" pitchFamily="18" charset="0"/>
              <a:buChar char=""/>
            </a:pPr>
            <a:r>
              <a:rPr lang="en-US" sz="1400" dirty="0"/>
              <a:t>Medina County, Mile Marker 130</a:t>
            </a:r>
          </a:p>
          <a:p>
            <a:pPr lvl="1">
              <a:buClr>
                <a:srgbClr val="F9792B"/>
              </a:buClr>
              <a:buFont typeface="Segoe MDL2 Assets" panose="050A0102010101010101" pitchFamily="18" charset="0"/>
              <a:buChar char=""/>
            </a:pPr>
            <a:r>
              <a:rPr lang="en-US" sz="1400" dirty="0"/>
              <a:t>La Salle County, Mile Marker 59</a:t>
            </a:r>
            <a:endParaRPr lang="en-US" sz="900" dirty="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9</a:t>
            </a:fld>
            <a:endParaRPr lang="en-US" dirty="0"/>
          </a:p>
        </p:txBody>
      </p:sp>
    </p:spTree>
    <p:extLst>
      <p:ext uri="{BB962C8B-B14F-4D97-AF65-F5344CB8AC3E}">
        <p14:creationId xmlns:p14="http://schemas.microsoft.com/office/powerpoint/2010/main" val="17038094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7.png"/><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2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2051"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63C85"/>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5317"/>
            <a:ext cx="9144000" cy="630821"/>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E05C6BCE-8B6D-45AB-BCA3-0B1A520DEA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05660" y="1041905"/>
            <a:ext cx="657117" cy="504700"/>
          </a:xfrm>
          <a:prstGeom prst="rect">
            <a:avLst/>
          </a:prstGeom>
        </p:spPr>
      </p:pic>
      <p:pic>
        <p:nvPicPr>
          <p:cNvPr id="7" name="Graphic 6">
            <a:extLst>
              <a:ext uri="{FF2B5EF4-FFF2-40B4-BE49-F238E27FC236}">
                <a16:creationId xmlns:a16="http://schemas.microsoft.com/office/drawing/2014/main" id="{F57B6D1D-6749-4E46-82AC-4E803CB5E3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979529" y="121518"/>
            <a:ext cx="990600" cy="389744"/>
          </a:xfrm>
          <a:prstGeom prst="rect">
            <a:avLst/>
          </a:prstGeom>
        </p:spPr>
      </p:pic>
    </p:spTree>
    <p:extLst>
      <p:ext uri="{BB962C8B-B14F-4D97-AF65-F5344CB8AC3E}">
        <p14:creationId xmlns:p14="http://schemas.microsoft.com/office/powerpoint/2010/main" val="4714524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6636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3241777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0"/>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extLst>
      <p:ext uri="{BB962C8B-B14F-4D97-AF65-F5344CB8AC3E}">
        <p14:creationId xmlns:p14="http://schemas.microsoft.com/office/powerpoint/2010/main" val="15895796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8195"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512064" y="3160833"/>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099"/>
          <a:stretch/>
        </p:blipFill>
        <p:spPr>
          <a:xfrm>
            <a:off x="4981415" y="531805"/>
            <a:ext cx="4087522" cy="3855951"/>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2064" y="2161744"/>
            <a:ext cx="2314257" cy="781382"/>
          </a:xfrm>
          <a:prstGeom prst="rect">
            <a:avLst/>
          </a:prstGeom>
        </p:spPr>
      </p:pic>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3"/>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0" name="Picture 9">
            <a:extLst>
              <a:ext uri="{FF2B5EF4-FFF2-40B4-BE49-F238E27FC236}">
                <a16:creationId xmlns:a16="http://schemas.microsoft.com/office/drawing/2014/main" id="{CF4AE025-9B04-274C-8DF9-1E9000B6E18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80314" y="4754974"/>
            <a:ext cx="2820447" cy="320622"/>
          </a:xfrm>
          <a:prstGeom prst="rect">
            <a:avLst/>
          </a:prstGeom>
        </p:spPr>
      </p:pic>
    </p:spTree>
    <p:extLst>
      <p:ext uri="{BB962C8B-B14F-4D97-AF65-F5344CB8AC3E}">
        <p14:creationId xmlns:p14="http://schemas.microsoft.com/office/powerpoint/2010/main" val="3477472697"/>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3075"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5317"/>
            <a:ext cx="9144000" cy="630821"/>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E05C6BCE-8B6D-45AB-BCA3-0B1A520DEA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4000" y="2735414"/>
            <a:ext cx="657117" cy="504700"/>
          </a:xfrm>
          <a:prstGeom prst="rect">
            <a:avLst/>
          </a:prstGeom>
        </p:spPr>
      </p:pic>
      <p:pic>
        <p:nvPicPr>
          <p:cNvPr id="7" name="Graphic 6">
            <a:extLst>
              <a:ext uri="{FF2B5EF4-FFF2-40B4-BE49-F238E27FC236}">
                <a16:creationId xmlns:a16="http://schemas.microsoft.com/office/drawing/2014/main" id="{C152524D-5DE4-41D0-9455-082416EF961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979529" y="121518"/>
            <a:ext cx="990600" cy="389744"/>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2946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0"/>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99"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512064" y="3160833"/>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099"/>
          <a:stretch/>
        </p:blipFill>
        <p:spPr>
          <a:xfrm>
            <a:off x="4981415" y="531805"/>
            <a:ext cx="4087522" cy="3855951"/>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2064" y="2161744"/>
            <a:ext cx="2314257" cy="781382"/>
          </a:xfrm>
          <a:prstGeom prst="rect">
            <a:avLst/>
          </a:prstGeom>
        </p:spPr>
      </p:pic>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3"/>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0" name="Picture 9">
            <a:extLst>
              <a:ext uri="{FF2B5EF4-FFF2-40B4-BE49-F238E27FC236}">
                <a16:creationId xmlns:a16="http://schemas.microsoft.com/office/drawing/2014/main" id="{CF4AE025-9B04-274C-8DF9-1E9000B6E18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80314" y="4754974"/>
            <a:ext cx="2820447" cy="320622"/>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6147"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63C85"/>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spTree>
    <p:extLst>
      <p:ext uri="{BB962C8B-B14F-4D97-AF65-F5344CB8AC3E}">
        <p14:creationId xmlns:p14="http://schemas.microsoft.com/office/powerpoint/2010/main" val="20528629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7171"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63C85"/>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spTree>
    <p:extLst>
      <p:ext uri="{BB962C8B-B14F-4D97-AF65-F5344CB8AC3E}">
        <p14:creationId xmlns:p14="http://schemas.microsoft.com/office/powerpoint/2010/main" val="40445702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18.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17.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6.xml"/><Relationship Id="rId5" Type="http://schemas.openxmlformats.org/officeDocument/2006/relationships/slideLayout" Target="../slideLayouts/slideLayout12.xml"/><Relationship Id="rId10" Type="http://schemas.openxmlformats.org/officeDocument/2006/relationships/tags" Target="../tags/tag15.xml"/><Relationship Id="rId4" Type="http://schemas.openxmlformats.org/officeDocument/2006/relationships/slideLayout" Target="../slideLayouts/slideLayout11.xml"/><Relationship Id="rId9" Type="http://schemas.openxmlformats.org/officeDocument/2006/relationships/vmlDrawing" Target="../drawings/vmlDrawing5.v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13" name="Rectangle 12"/>
          <p:cNvSpPr/>
          <p:nvPr>
            <p:custDataLst>
              <p:tags r:id="rId10"/>
            </p:custDataLst>
          </p:nvPr>
        </p:nvSpPr>
        <p:spPr>
          <a:xfrm>
            <a:off x="8886826" y="4854722"/>
            <a:ext cx="257175" cy="142875"/>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 name="Slide Number Placeholder 5"/>
          <p:cNvSpPr>
            <a:spLocks noGrp="1"/>
          </p:cNvSpPr>
          <p:nvPr>
            <p:ph type="sldNum" sz="quarter" idx="4"/>
            <p:custDataLst>
              <p:tags r:id="rId11"/>
            </p:custDataLst>
          </p:nvPr>
        </p:nvSpPr>
        <p:spPr>
          <a:xfrm>
            <a:off x="8870950" y="4856970"/>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15" name="TextBox 14">
            <a:extLst>
              <a:ext uri="{FF2B5EF4-FFF2-40B4-BE49-F238E27FC236}">
                <a16:creationId xmlns:a16="http://schemas.microsoft.com/office/drawing/2014/main" id="{EBBBF4F3-27CF-584C-B354-C1AF0B34B8BD}"/>
              </a:ext>
            </a:extLst>
          </p:cNvPr>
          <p:cNvSpPr txBox="1"/>
          <p:nvPr/>
        </p:nvSpPr>
        <p:spPr>
          <a:xfrm>
            <a:off x="6995880" y="4715184"/>
            <a:ext cx="1634889" cy="428316"/>
          </a:xfrm>
          <a:prstGeom prst="rect">
            <a:avLst/>
          </a:prstGeom>
          <a:noFill/>
        </p:spPr>
        <p:txBody>
          <a:bodyPr wrap="none" lIns="0" tIns="0" rIns="0" bIns="0" rtlCol="0" anchor="ctr" anchorCtr="0">
            <a:noAutofit/>
          </a:bodyPr>
          <a:lstStyle/>
          <a:p>
            <a:pPr algn="r"/>
            <a:fld id="{CAAFC295-E4AC-D34C-A518-2E03C6EB7786}" type="datetime4">
              <a:rPr lang="en-US" sz="1200" smtClean="0">
                <a:solidFill>
                  <a:schemeClr val="bg1"/>
                </a:solidFill>
                <a:latin typeface="Franklin Gothic Book" pitchFamily="34" charset="0"/>
              </a:rPr>
              <a:t>March 25, 2021</a:t>
            </a:fld>
            <a:endParaRPr lang="en-US" sz="1200" dirty="0">
              <a:solidFill>
                <a:schemeClr val="bg1"/>
              </a:solidFill>
              <a:latin typeface="Franklin Gothic Book" pitchFamily="34" charset="0"/>
            </a:endParaRPr>
          </a:p>
        </p:txBody>
      </p:sp>
      <p:sp>
        <p:nvSpPr>
          <p:cNvPr id="4" name="Rectangle 3">
            <a:extLst>
              <a:ext uri="{FF2B5EF4-FFF2-40B4-BE49-F238E27FC236}">
                <a16:creationId xmlns:a16="http://schemas.microsoft.com/office/drawing/2014/main" id="{DAFE1A90-80CB-4C15-AC8D-3C0013380606}"/>
              </a:ext>
            </a:extLst>
          </p:cNvPr>
          <p:cNvSpPr/>
          <p:nvPr userDrawn="1"/>
        </p:nvSpPr>
        <p:spPr>
          <a:xfrm>
            <a:off x="0" y="4715184"/>
            <a:ext cx="9144001" cy="438727"/>
          </a:xfrm>
          <a:prstGeom prst="rect">
            <a:avLst/>
          </a:prstGeom>
          <a:solidFill>
            <a:srgbClr val="263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graphicFrame>
        <p:nvGraphicFramePr>
          <p:cNvPr id="10" name="Object 9" hidden="1"/>
          <p:cNvGraphicFramePr>
            <a:graphicFrameLocks/>
          </p:cNvGraphicFramePr>
          <p:nvPr>
            <p:custDataLst>
              <p:tags r:id="rId1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027" name="think-cell Slide" r:id="rId15" imgW="0" imgH="0" progId="">
                  <p:embed/>
                </p:oleObj>
              </mc:Choice>
              <mc:Fallback>
                <p:oleObj name="think-cell Slide" r:id="rId15"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13"/>
            </p:custDataLst>
          </p:nvPr>
        </p:nvSpPr>
        <p:spPr bwMode="gray">
          <a:xfrm>
            <a:off x="253678" y="108926"/>
            <a:ext cx="8353424" cy="402336"/>
          </a:xfrm>
          <a:prstGeom prst="rect">
            <a:avLst/>
          </a:prstGeom>
          <a:noFill/>
        </p:spPr>
        <p:txBody>
          <a:bodyPr wrap="square" lIns="0" rtlCol="0">
            <a:spAutoFit/>
          </a:bodyPr>
          <a:lstStyle/>
          <a:p>
            <a:r>
              <a:rPr lang="en-US" dirty="0"/>
              <a:t>Click to edit Master title style</a:t>
            </a:r>
          </a:p>
        </p:txBody>
      </p:sp>
      <p:sp>
        <p:nvSpPr>
          <p:cNvPr id="3" name="Text Placeholder 2"/>
          <p:cNvSpPr>
            <a:spLocks noGrp="1"/>
          </p:cNvSpPr>
          <p:nvPr>
            <p:ph type="body" idx="1"/>
            <p:custDataLst>
              <p:tags r:id="rId14"/>
            </p:custDataLst>
          </p:nvPr>
        </p:nvSpPr>
        <p:spPr>
          <a:xfrm>
            <a:off x="253678" y="792314"/>
            <a:ext cx="8477250" cy="38862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56032" y="4715184"/>
            <a:ext cx="4267200" cy="438727"/>
          </a:xfrm>
          <a:prstGeom prst="rect">
            <a:avLst/>
          </a:prstGeom>
          <a:noFill/>
        </p:spPr>
        <p:txBody>
          <a:bodyPr wrap="none" lIns="0" tIns="0" rIns="0" bIns="0" rtlCol="0" anchor="ctr" anchorCtr="0">
            <a:noAutofit/>
          </a:bodyPr>
          <a:lstStyle/>
          <a:p>
            <a:endParaRPr lang="en-US" sz="1200" dirty="0">
              <a:solidFill>
                <a:schemeClr val="bg1"/>
              </a:solidFill>
              <a:latin typeface="Franklin Gothic Book"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2" r:id="rId4"/>
    <p:sldLayoutId id="2147483654" r:id="rId5"/>
    <p:sldLayoutId id="2147483655" r:id="rId6"/>
    <p:sldLayoutId id="2147483661" r:id="rId7"/>
  </p:sldLayoutIdLst>
  <p:hf hdr="0" dt="0"/>
  <p:txStyles>
    <p:titleStyle>
      <a:lvl1pPr marL="0" algn="l" defTabSz="914400" rtl="0" eaLnBrk="1" latinLnBrk="0" hangingPunct="1">
        <a:lnSpc>
          <a:spcPct val="100000"/>
        </a:lnSpc>
        <a:spcBef>
          <a:spcPct val="0"/>
        </a:spcBef>
        <a:buNone/>
        <a:defRPr lang="en-US" sz="2000" b="0" kern="1200" dirty="0" smtClean="0">
          <a:solidFill>
            <a:srgbClr val="263C85"/>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custDataLst>
              <p:tags r:id="rId10"/>
            </p:custDataLst>
          </p:nvPr>
        </p:nvSpPr>
        <p:spPr>
          <a:xfrm>
            <a:off x="8870950" y="4856970"/>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15" name="TextBox 14">
            <a:extLst>
              <a:ext uri="{FF2B5EF4-FFF2-40B4-BE49-F238E27FC236}">
                <a16:creationId xmlns:a16="http://schemas.microsoft.com/office/drawing/2014/main" id="{EBBBF4F3-27CF-584C-B354-C1AF0B34B8BD}"/>
              </a:ext>
            </a:extLst>
          </p:cNvPr>
          <p:cNvSpPr txBox="1"/>
          <p:nvPr/>
        </p:nvSpPr>
        <p:spPr>
          <a:xfrm>
            <a:off x="253678" y="4715184"/>
            <a:ext cx="1381212" cy="428316"/>
          </a:xfrm>
          <a:prstGeom prst="rect">
            <a:avLst/>
          </a:prstGeom>
          <a:noFill/>
        </p:spPr>
        <p:txBody>
          <a:bodyPr wrap="none" lIns="0" tIns="0" rIns="0" bIns="0" rtlCol="0" anchor="ctr" anchorCtr="0">
            <a:noAutofit/>
          </a:bodyPr>
          <a:lstStyle/>
          <a:p>
            <a:pPr algn="l"/>
            <a:fld id="{CAAFC295-E4AC-D34C-A518-2E03C6EB7786}" type="datetime4">
              <a:rPr lang="en-US" sz="1200" smtClean="0">
                <a:solidFill>
                  <a:schemeClr val="bg1"/>
                </a:solidFill>
                <a:latin typeface="Franklin Gothic Book" pitchFamily="34" charset="0"/>
              </a:rPr>
              <a:pPr algn="l"/>
              <a:t>March 25, 2021</a:t>
            </a:fld>
            <a:endParaRPr lang="en-US" sz="1200" dirty="0">
              <a:solidFill>
                <a:schemeClr val="bg1"/>
              </a:solidFill>
              <a:latin typeface="Franklin Gothic Book" pitchFamily="34" charset="0"/>
            </a:endParaRPr>
          </a:p>
        </p:txBody>
      </p:sp>
      <p:sp>
        <p:nvSpPr>
          <p:cNvPr id="11" name="Rectangle 10">
            <a:extLst>
              <a:ext uri="{FF2B5EF4-FFF2-40B4-BE49-F238E27FC236}">
                <a16:creationId xmlns:a16="http://schemas.microsoft.com/office/drawing/2014/main" id="{AD5C8C7F-92C8-4DB4-B29E-14198A9CDF83}"/>
              </a:ext>
            </a:extLst>
          </p:cNvPr>
          <p:cNvSpPr/>
          <p:nvPr userDrawn="1"/>
        </p:nvSpPr>
        <p:spPr>
          <a:xfrm>
            <a:off x="0" y="4715184"/>
            <a:ext cx="9144001" cy="438727"/>
          </a:xfrm>
          <a:prstGeom prst="rect">
            <a:avLst/>
          </a:prstGeom>
          <a:solidFill>
            <a:srgbClr val="263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graphicFrame>
        <p:nvGraphicFramePr>
          <p:cNvPr id="10" name="Object 9" hidden="1"/>
          <p:cNvGraphicFramePr>
            <a:graphicFrameLocks/>
          </p:cNvGraphicFramePr>
          <p:nvPr>
            <p:custDataLst>
              <p:tags r:id="rId1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5123" name="think-cell Slide" r:id="rId14" imgW="0" imgH="0" progId="">
                  <p:embed/>
                </p:oleObj>
              </mc:Choice>
              <mc:Fallback>
                <p:oleObj name="think-cell Slide" r:id="rId14"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12"/>
            </p:custDataLst>
          </p:nvPr>
        </p:nvSpPr>
        <p:spPr bwMode="gray">
          <a:xfrm>
            <a:off x="253678" y="108926"/>
            <a:ext cx="8353424" cy="402336"/>
          </a:xfrm>
          <a:prstGeom prst="rect">
            <a:avLst/>
          </a:prstGeom>
          <a:noFill/>
        </p:spPr>
        <p:txBody>
          <a:bodyPr wrap="square" lIns="0" rtlCol="0">
            <a:spAutoFit/>
          </a:bodyPr>
          <a:lstStyle/>
          <a:p>
            <a:r>
              <a:rPr lang="en-US" dirty="0"/>
              <a:t>Click to edit Master title style</a:t>
            </a:r>
          </a:p>
        </p:txBody>
      </p:sp>
      <p:sp>
        <p:nvSpPr>
          <p:cNvPr id="3" name="Text Placeholder 2"/>
          <p:cNvSpPr>
            <a:spLocks noGrp="1"/>
          </p:cNvSpPr>
          <p:nvPr>
            <p:ph type="body" idx="1"/>
            <p:custDataLst>
              <p:tags r:id="rId13"/>
            </p:custDataLst>
          </p:nvPr>
        </p:nvSpPr>
        <p:spPr>
          <a:xfrm>
            <a:off x="253678" y="792314"/>
            <a:ext cx="8477250" cy="38862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56032" y="4715184"/>
            <a:ext cx="4267200" cy="438727"/>
          </a:xfrm>
          <a:prstGeom prst="rect">
            <a:avLst/>
          </a:prstGeom>
          <a:noFill/>
        </p:spPr>
        <p:txBody>
          <a:bodyPr wrap="none" lIns="0" tIns="0" rIns="0" bIns="0" rtlCol="0" anchor="ctr" anchorCtr="0">
            <a:noAutofit/>
          </a:bodyPr>
          <a:lstStyle/>
          <a:p>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318819566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hdr="0" dt="0"/>
  <p:txStyles>
    <p:titleStyle>
      <a:lvl1pPr marL="0" algn="l" defTabSz="914400" rtl="0" eaLnBrk="1" latinLnBrk="0" hangingPunct="1">
        <a:lnSpc>
          <a:spcPct val="100000"/>
        </a:lnSpc>
        <a:spcBef>
          <a:spcPct val="0"/>
        </a:spcBef>
        <a:buNone/>
        <a:defRPr lang="en-US" sz="2000" b="0" kern="1200" dirty="0" smtClean="0">
          <a:solidFill>
            <a:srgbClr val="263C85"/>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sv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gif"/><Relationship Id="rId4" Type="http://schemas.openxmlformats.org/officeDocument/2006/relationships/image" Target="../media/image11.svg"/></Relationships>
</file>

<file path=ppt/slides/_rels/slide2.xml.rels><?xml version="1.0" encoding="UTF-8" standalone="yes"?>
<Relationships xmlns="http://schemas.openxmlformats.org/package/2006/relationships"><Relationship Id="rId8" Type="http://schemas.openxmlformats.org/officeDocument/2006/relationships/image" Target="../media/image20.gif"/><Relationship Id="rId3" Type="http://schemas.openxmlformats.org/officeDocument/2006/relationships/image" Target="../media/image15.gif"/><Relationship Id="rId7" Type="http://schemas.openxmlformats.org/officeDocument/2006/relationships/image" Target="../media/image19.gif"/><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7.svg"/><Relationship Id="rId2" Type="http://schemas.openxmlformats.org/officeDocument/2006/relationships/image" Target="../media/image21.jpeg"/><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4.sv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svg"/><Relationship Id="rId2" Type="http://schemas.openxmlformats.org/officeDocument/2006/relationships/image" Target="../media/image22.jpeg"/><Relationship Id="rId1" Type="http://schemas.openxmlformats.org/officeDocument/2006/relationships/slideLayout" Target="../slideLayouts/slideLayout4.xml"/><Relationship Id="rId6" Type="http://schemas.openxmlformats.org/officeDocument/2006/relationships/image" Target="../media/image3.png"/><Relationship Id="rId5" Type="http://schemas.openxmlformats.org/officeDocument/2006/relationships/image" Target="../media/image17.sv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svg"/><Relationship Id="rId2" Type="http://schemas.openxmlformats.org/officeDocument/2006/relationships/image" Target="../media/image23.jpeg"/><Relationship Id="rId1" Type="http://schemas.openxmlformats.org/officeDocument/2006/relationships/slideLayout" Target="../slideLayouts/slideLayout4.xml"/><Relationship Id="rId6" Type="http://schemas.openxmlformats.org/officeDocument/2006/relationships/image" Target="../media/image3.png"/><Relationship Id="rId5" Type="http://schemas.openxmlformats.org/officeDocument/2006/relationships/image" Target="../media/image17.sv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eg"/><Relationship Id="rId1" Type="http://schemas.openxmlformats.org/officeDocument/2006/relationships/slideLayout" Target="../slideLayouts/slideLayout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sv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Layout" Target="../slideLayouts/slideLayout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9.png"/><Relationship Id="rId11" Type="http://schemas.openxmlformats.org/officeDocument/2006/relationships/slide" Target="slide9.xml"/><Relationship Id="rId5" Type="http://schemas.openxmlformats.org/officeDocument/2006/relationships/image" Target="../media/image28.png"/><Relationship Id="rId10" Type="http://schemas.openxmlformats.org/officeDocument/2006/relationships/image" Target="../media/image17.svg"/><Relationship Id="rId4" Type="http://schemas.openxmlformats.org/officeDocument/2006/relationships/image" Target="../media/image27.png"/><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17.svg"/><Relationship Id="rId3" Type="http://schemas.openxmlformats.org/officeDocument/2006/relationships/notesSlide" Target="../notesSlides/notesSlide3.xml"/><Relationship Id="rId7" Type="http://schemas.openxmlformats.org/officeDocument/2006/relationships/image" Target="../media/image27.png"/><Relationship Id="rId12" Type="http://schemas.openxmlformats.org/officeDocument/2006/relationships/image" Target="../media/image16.png"/><Relationship Id="rId2" Type="http://schemas.openxmlformats.org/officeDocument/2006/relationships/slideLayout" Target="../slideLayouts/slideLayout3.xml"/><Relationship Id="rId16" Type="http://schemas.openxmlformats.org/officeDocument/2006/relationships/image" Target="../media/image36.svg"/><Relationship Id="rId1" Type="http://schemas.openxmlformats.org/officeDocument/2006/relationships/video" Target="https://www.youtube.com/embed/pDjRF026HAI" TargetMode="External"/><Relationship Id="rId6" Type="http://schemas.openxmlformats.org/officeDocument/2006/relationships/image" Target="../media/image26.jpeg"/><Relationship Id="rId11" Type="http://schemas.openxmlformats.org/officeDocument/2006/relationships/image" Target="../media/image31.png"/><Relationship Id="rId5" Type="http://schemas.openxmlformats.org/officeDocument/2006/relationships/image" Target="../media/image34.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33.jpeg"/><Relationship Id="rId9" Type="http://schemas.openxmlformats.org/officeDocument/2006/relationships/image" Target="../media/image29.png"/><Relationship Id="rId1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338F537-3A3F-415F-BF91-2E69B929388C}"/>
              </a:ext>
            </a:extLst>
          </p:cNvPr>
          <p:cNvSpPr/>
          <p:nvPr/>
        </p:nvSpPr>
        <p:spPr>
          <a:xfrm>
            <a:off x="1" y="810833"/>
            <a:ext cx="2514600" cy="3904351"/>
          </a:xfrm>
          <a:prstGeom prst="rect">
            <a:avLst/>
          </a:prstGeom>
          <a:solidFill>
            <a:srgbClr val="DCDC4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pic>
        <p:nvPicPr>
          <p:cNvPr id="6" name="Picture 5">
            <a:extLst>
              <a:ext uri="{FF2B5EF4-FFF2-40B4-BE49-F238E27FC236}">
                <a16:creationId xmlns:a16="http://schemas.microsoft.com/office/drawing/2014/main" id="{98A9DB11-FECC-4BA6-B13B-B7928801982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5641" r="48124"/>
          <a:stretch/>
        </p:blipFill>
        <p:spPr>
          <a:xfrm>
            <a:off x="-1" y="267792"/>
            <a:ext cx="2417320" cy="4447392"/>
          </a:xfrm>
          <a:prstGeom prst="rect">
            <a:avLst/>
          </a:prstGeom>
        </p:spPr>
      </p:pic>
      <p:sp>
        <p:nvSpPr>
          <p:cNvPr id="7" name="Rectangle 6">
            <a:extLst>
              <a:ext uri="{FF2B5EF4-FFF2-40B4-BE49-F238E27FC236}">
                <a16:creationId xmlns:a16="http://schemas.microsoft.com/office/drawing/2014/main" id="{6A2AE279-C79B-4078-9550-CEF282B5FB50}"/>
              </a:ext>
            </a:extLst>
          </p:cNvPr>
          <p:cNvSpPr/>
          <p:nvPr/>
        </p:nvSpPr>
        <p:spPr>
          <a:xfrm>
            <a:off x="2417319" y="257175"/>
            <a:ext cx="104775" cy="4458009"/>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5" name="Rectangle 4">
            <a:extLst>
              <a:ext uri="{FF2B5EF4-FFF2-40B4-BE49-F238E27FC236}">
                <a16:creationId xmlns:a16="http://schemas.microsoft.com/office/drawing/2014/main" id="{8F20D088-7C59-4C09-A52D-50C5A49DB029}"/>
              </a:ext>
            </a:extLst>
          </p:cNvPr>
          <p:cNvSpPr/>
          <p:nvPr/>
        </p:nvSpPr>
        <p:spPr>
          <a:xfrm>
            <a:off x="-1" y="0"/>
            <a:ext cx="9144001" cy="257175"/>
          </a:xfrm>
          <a:prstGeom prst="rect">
            <a:avLst/>
          </a:prstGeom>
          <a:solidFill>
            <a:srgbClr val="253D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p:cNvSpPr>
            <a:spLocks noGrp="1"/>
          </p:cNvSpPr>
          <p:nvPr>
            <p:ph type="ctrTitle"/>
          </p:nvPr>
        </p:nvSpPr>
        <p:spPr>
          <a:xfrm>
            <a:off x="3414104" y="2156702"/>
            <a:ext cx="4752460" cy="1057275"/>
          </a:xfrm>
        </p:spPr>
        <p:txBody>
          <a:bodyPr/>
          <a:lstStyle/>
          <a:p>
            <a:pPr>
              <a:lnSpc>
                <a:spcPts val="4380"/>
              </a:lnSpc>
            </a:pPr>
            <a:r>
              <a:rPr lang="en-US" sz="5400" dirty="0">
                <a:solidFill>
                  <a:srgbClr val="263C85"/>
                </a:solidFill>
              </a:rPr>
              <a:t>Monarch Butterfly</a:t>
            </a:r>
          </a:p>
        </p:txBody>
      </p:sp>
      <p:sp>
        <p:nvSpPr>
          <p:cNvPr id="4" name="Subtitle 3"/>
          <p:cNvSpPr>
            <a:spLocks noGrp="1"/>
          </p:cNvSpPr>
          <p:nvPr>
            <p:ph type="subTitle" idx="1"/>
          </p:nvPr>
        </p:nvSpPr>
        <p:spPr>
          <a:xfrm>
            <a:off x="3414104" y="3329296"/>
            <a:ext cx="4114800" cy="433125"/>
          </a:xfrm>
        </p:spPr>
        <p:txBody>
          <a:bodyPr/>
          <a:lstStyle/>
          <a:p>
            <a:r>
              <a:rPr lang="en-US" sz="2800" dirty="0"/>
              <a:t>The Monarch Highway</a:t>
            </a:r>
          </a:p>
        </p:txBody>
      </p:sp>
      <p:pic>
        <p:nvPicPr>
          <p:cNvPr id="8" name="Graphic 7">
            <a:extLst>
              <a:ext uri="{FF2B5EF4-FFF2-40B4-BE49-F238E27FC236}">
                <a16:creationId xmlns:a16="http://schemas.microsoft.com/office/drawing/2014/main" id="{AEAD4C5D-236E-432E-B9C1-63D15A5730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69190" y="1192810"/>
            <a:ext cx="1245933" cy="1501198"/>
          </a:xfrm>
          <a:prstGeom prst="rect">
            <a:avLst/>
          </a:prstGeom>
        </p:spPr>
      </p:pic>
      <p:sp>
        <p:nvSpPr>
          <p:cNvPr id="16" name="Freeform: Shape 15">
            <a:extLst>
              <a:ext uri="{FF2B5EF4-FFF2-40B4-BE49-F238E27FC236}">
                <a16:creationId xmlns:a16="http://schemas.microsoft.com/office/drawing/2014/main" id="{483A5EE2-0EAD-469C-844B-5949103484B3}"/>
              </a:ext>
            </a:extLst>
          </p:cNvPr>
          <p:cNvSpPr/>
          <p:nvPr/>
        </p:nvSpPr>
        <p:spPr>
          <a:xfrm>
            <a:off x="6981825" y="3457575"/>
            <a:ext cx="2165350" cy="1260922"/>
          </a:xfrm>
          <a:custGeom>
            <a:avLst/>
            <a:gdLst>
              <a:gd name="connsiteX0" fmla="*/ 2990850 w 2990850"/>
              <a:gd name="connsiteY0" fmla="*/ 0 h 1701800"/>
              <a:gd name="connsiteX1" fmla="*/ 0 w 2990850"/>
              <a:gd name="connsiteY1" fmla="*/ 1701800 h 1701800"/>
              <a:gd name="connsiteX2" fmla="*/ 2984500 w 2990850"/>
              <a:gd name="connsiteY2" fmla="*/ 1701800 h 1701800"/>
              <a:gd name="connsiteX3" fmla="*/ 2990850 w 2990850"/>
              <a:gd name="connsiteY3" fmla="*/ 0 h 1701800"/>
              <a:gd name="connsiteX0" fmla="*/ 2990850 w 2991461"/>
              <a:gd name="connsiteY0" fmla="*/ 0 h 1701800"/>
              <a:gd name="connsiteX1" fmla="*/ 0 w 2991461"/>
              <a:gd name="connsiteY1" fmla="*/ 1701800 h 1701800"/>
              <a:gd name="connsiteX2" fmla="*/ 2990850 w 2991461"/>
              <a:gd name="connsiteY2" fmla="*/ 1701800 h 1701800"/>
              <a:gd name="connsiteX3" fmla="*/ 2990850 w 2991461"/>
              <a:gd name="connsiteY3" fmla="*/ 0 h 1701800"/>
            </a:gdLst>
            <a:ahLst/>
            <a:cxnLst>
              <a:cxn ang="0">
                <a:pos x="connsiteX0" y="connsiteY0"/>
              </a:cxn>
              <a:cxn ang="0">
                <a:pos x="connsiteX1" y="connsiteY1"/>
              </a:cxn>
              <a:cxn ang="0">
                <a:pos x="connsiteX2" y="connsiteY2"/>
              </a:cxn>
              <a:cxn ang="0">
                <a:pos x="connsiteX3" y="connsiteY3"/>
              </a:cxn>
            </a:cxnLst>
            <a:rect l="l" t="t" r="r" b="b"/>
            <a:pathLst>
              <a:path w="2991461" h="1701800">
                <a:moveTo>
                  <a:pt x="2990850" y="0"/>
                </a:moveTo>
                <a:lnTo>
                  <a:pt x="0" y="1701800"/>
                </a:lnTo>
                <a:lnTo>
                  <a:pt x="2990850" y="1701800"/>
                </a:lnTo>
                <a:cubicBezTo>
                  <a:pt x="2992967" y="1134533"/>
                  <a:pt x="2988733" y="567267"/>
                  <a:pt x="2990850" y="0"/>
                </a:cubicBezTo>
                <a:close/>
              </a:path>
            </a:pathLst>
          </a:cu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11" name="Picture 10">
            <a:extLst>
              <a:ext uri="{FF2B5EF4-FFF2-40B4-BE49-F238E27FC236}">
                <a16:creationId xmlns:a16="http://schemas.microsoft.com/office/drawing/2014/main" id="{655D91C4-4CA2-4D46-880C-12DCDE6F4E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11653" y="-637183"/>
            <a:ext cx="1523999" cy="2438397"/>
          </a:xfrm>
          <a:prstGeom prst="rect">
            <a:avLst/>
          </a:prstGeom>
        </p:spPr>
      </p:pic>
      <p:sp>
        <p:nvSpPr>
          <p:cNvPr id="13" name="Freeform: Shape 12">
            <a:extLst>
              <a:ext uri="{FF2B5EF4-FFF2-40B4-BE49-F238E27FC236}">
                <a16:creationId xmlns:a16="http://schemas.microsoft.com/office/drawing/2014/main" id="{F3B27954-95C7-49AB-8952-70756F0DF619}"/>
              </a:ext>
            </a:extLst>
          </p:cNvPr>
          <p:cNvSpPr/>
          <p:nvPr/>
        </p:nvSpPr>
        <p:spPr>
          <a:xfrm>
            <a:off x="-1" y="-2079"/>
            <a:ext cx="2981327" cy="1699104"/>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22" name="Graphic 21">
            <a:extLst>
              <a:ext uri="{FF2B5EF4-FFF2-40B4-BE49-F238E27FC236}">
                <a16:creationId xmlns:a16="http://schemas.microsoft.com/office/drawing/2014/main" id="{E195BB65-E098-4E84-9234-EEEEDE18421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3230" y="267792"/>
            <a:ext cx="1162050" cy="457200"/>
          </a:xfrm>
          <a:prstGeom prst="rect">
            <a:avLst/>
          </a:prstGeom>
        </p:spPr>
      </p:pic>
    </p:spTree>
    <p:extLst>
      <p:ext uri="{BB962C8B-B14F-4D97-AF65-F5344CB8AC3E}">
        <p14:creationId xmlns:p14="http://schemas.microsoft.com/office/powerpoint/2010/main" val="144193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5834 -0.12778 L 0.05834 -0.12747 C 0.0625 -0.12438 0.06684 -0.12099 0.07066 -0.11697 C 0.0724 -0.11512 0.07292 -0.11296 0.07413 -0.11142 C 0.07761 -0.10741 0.08455 -0.10247 0.08455 -0.10247 C 0.08611 -0.09568 0.08663 -0.09259 0.08993 -0.0892 C 0.09219 -0.08673 0.09445 -0.08518 0.09688 -0.08364 C 0.09861 -0.0821 0.10035 -0.08055 0.10209 -0.07994 C 0.10434 -0.0787 0.10677 -0.0787 0.10903 -0.07808 C 0.11077 -0.07716 0.11285 -0.07716 0.11424 -0.07716 C 0.11806 -0.07716 0.12014 -0.06697 0.12483 -0.06512 C 0.12778 -0.06389 0.13091 -0.06389 0.13351 -0.06327 C 0.14532 -0.05987 0.13212 -0.06296 0.1441 -0.05771 C 0.14844 -0.05555 0.16059 -0.05432 0.1632 -0.05401 C 0.17604 -0.05463 0.18802 -0.05494 0.19948 -0.05586 C 0.20313 -0.05586 0.21875 -0.05864 0.2224 -0.05957 C 0.2257 -0.05987 0.2283 -0.0608 0.23125 -0.06142 C 0.23941 -0.06265 0.24757 -0.06389 0.25573 -0.06512 C 0.2658 -0.0645 0.27552 -0.0645 0.28507 -0.06327 C 0.28768 -0.06265 0.28976 -0.06049 0.29184 -0.05957 C 0.29427 -0.05864 0.29705 -0.05833 0.29896 -0.05771 C 0.304 -0.05586 0.30834 -0.0537 0.31285 -0.05216 C 0.31476 -0.05123 0.31684 -0.05092 0.31806 -0.05031 C 0.32084 -0.04907 0.32292 -0.04753 0.325 -0.0466 C 0.32865 -0.04506 0.33577 -0.0429 0.33577 -0.04259 C 0.35139 -0.03055 0.33455 -0.04228 0.34966 -0.03549 C 0.35174 -0.03457 0.35295 -0.03271 0.35486 -0.03179 C 0.3566 -0.03086 0.35851 -0.03055 0.36025 -0.02994 C 0.3625 -0.02808 0.36459 -0.02623 0.36702 -0.02623 C 0.36945 -0.02623 0.37188 -0.02623 0.37396 -0.02623 C 0.37917 -0.02623 0.38351 -0.02623 0.3882 -0.02623 C 0.39566 -0.00617 0.39184 -0.00926 0.39861 -0.00216 C 0.40313 0.01204 0.39705 -0.00525 0.40382 0.00895 C 0.40469 0.0108 0.40504 0.01296 0.40556 0.01451 C 0.40677 0.01667 0.41354 0.02685 0.41441 0.02747 C 0.41615 0.02932 0.41789 0.02994 0.41962 0.03117 C 0.4283 0.04506 0.41719 0.02809 0.4283 0.04229 C 0.42969 0.04414 0.43056 0.0463 0.43177 0.04784 C 0.43351 0.05062 0.43559 0.05278 0.43698 0.05525 C 0.43854 0.0571 0.43941 0.05926 0.44045 0.0608 C 0.44236 0.06296 0.44427 0.06451 0.44584 0.06636 C 0.44775 0.06883 0.44896 0.07161 0.45104 0.07377 C 0.45278 0.07562 0.45486 0.07562 0.45625 0.07562 C 0.45851 0.07562 0.45938 0.07562 0.46146 0.07562 C 0.46476 0.07562 0.46875 0.07562 0.47205 0.07562 C 0.47431 0.07624 0.47657 0.07901 0.479 0.08025 C 0.48195 0.0821 0.48507 0.08272 0.48768 0.08426 C 0.49028 0.0855 0.49236 0.08704 0.49462 0.08796 L 0.51042 0.1108 C 0.51216 0.11142 0.51424 0.11204 0.51545 0.11266 C 0.51893 0.11451 0.52257 0.11667 0.52622 0.11821 C 0.5342 0.12192 0.53629 0.12161 0.54358 0.12377 C 0.54792 0.125 0.55174 0.12654 0.55591 0.12747 C 0.55868 0.1284 0.56181 0.12871 0.56424 0.12932 C 0.56841 0.13056 0.57153 0.13179 0.57483 0.13303 C 0.57674 0.13364 0.57848 0.13457 0.58021 0.13488 C 0.58611 0.13611 0.59219 0.13735 0.5974 0.13858 C 0.59983 0.1392 0.60122 0.14043 0.60295 0.14043 C 0.61111 0.14167 0.61927 0.14167 0.62743 0.14229 C 0.64167 0.14475 0.65365 0.14692 0.66771 0.14784 C 0.6816 0.14877 0.69532 0.14908 0.70955 0.14969 C 0.71146 0.15031 0.71389 0.15124 0.71632 0.15154 C 0.73802 0.15617 0.71806 0.15093 0.73403 0.15525 C 0.74601 0.16358 0.73091 0.15432 0.75157 0.1608 C 0.75348 0.16142 0.75504 0.16358 0.75677 0.16451 C 0.7592 0.16605 0.76285 0.16698 0.76545 0.16821 C 0.76806 0.16945 0.77014 0.17099 0.7724 0.17192 C 0.78229 0.17654 0.77327 0.17068 0.78473 0.17747 C 0.79601 0.18457 0.78316 0.1784 0.79861 0.19043 C 0.80035 0.19167 0.80209 0.19167 0.80382 0.19229 C 0.80625 0.19475 0.80834 0.19784 0.81094 0.19969 C 0.81268 0.20093 0.81459 0.20062 0.81615 0.20154 C 0.82101 0.20432 0.82604 0.20741 0.83004 0.2108 C 0.84879 0.22654 0.83125 0.21204 0.8441 0.22192 C 0.86233 0.2358 0.83768 0.2179 0.86146 0.23488 L 0.86684 0.23858 C 0.86789 0.24167 0.86858 0.24537 0.87032 0.24784 C 0.87327 0.25216 0.87813 0.25463 0.88073 0.25895 C 0.88577 0.26667 0.88282 0.26296 0.88941 0.27006 C 0.89132 0.27685 0.89219 0.27901 0.89827 0.27901 C 0.9 0.27901 0.90209 0.27901 0.90348 0.27901 C 0.9099 0.27901 0.90729 0.27901 0.91216 0.27932 C 0.91389 0.28148 0.91563 0.28333 0.91736 0.28488 C 0.92101 0.28766 0.92795 0.29229 0.92795 0.29259 C 0.93091 0.29692 0.93264 0.30031 0.93664 0.3034 C 0.94045 0.30648 0.94479 0.30741 0.94896 0.30895 C 0.95712 0.34784 0.95243 0.31759 0.96111 0.34969 C 0.96233 0.35154 0.96372 0.3534 0.96459 0.35525 C 0.96545 0.3571 0.96511 0.35926 0.96632 0.3608 C 0.96789 0.36266 0.96979 0.36327 0.97153 0.36451 C 0.97604 0.3713 0.97622 0.37222 0.97327 0.36636 " pathEditMode="relative" rAng="0" ptsTypes="AAAAAAAAAAAAAAAAAAAAAAAAAAAAAAAAAAAAAAAAAAAAAAAAAAAAAAAAAAAAAAAAAAAAAAAAAAAAAAAAAAAAAAAAAAA">
                                      <p:cBhvr>
                                        <p:cTn id="6" dur="3500" fill="hold"/>
                                        <p:tgtEl>
                                          <p:spTgt spid="11"/>
                                        </p:tgtEl>
                                        <p:attrNameLst>
                                          <p:attrName>ppt_x</p:attrName>
                                          <p:attrName>ppt_y</p:attrName>
                                        </p:attrNameLst>
                                      </p:cBhvr>
                                      <p:rCtr x="45833" y="24877"/>
                                    </p:animMotion>
                                  </p:childTnLst>
                                </p:cTn>
                              </p:par>
                              <p:par>
                                <p:cTn id="7" presetID="10" presetClass="exit" presetSubtype="0" fill="hold" nodeType="withEffect">
                                  <p:stCondLst>
                                    <p:cond delay="3500"/>
                                  </p:stCondLst>
                                  <p:childTnLst>
                                    <p:animEffect transition="out" filter="fade">
                                      <p:cBhvr>
                                        <p:cTn id="8" dur="150"/>
                                        <p:tgtEl>
                                          <p:spTgt spid="11"/>
                                        </p:tgtEl>
                                      </p:cBhvr>
                                    </p:animEffect>
                                    <p:set>
                                      <p:cBhvr>
                                        <p:cTn id="9" dur="1" fill="hold">
                                          <p:stCondLst>
                                            <p:cond delay="149"/>
                                          </p:stCondLst>
                                        </p:cTn>
                                        <p:tgtEl>
                                          <p:spTgt spid="11"/>
                                        </p:tgtEl>
                                        <p:attrNameLst>
                                          <p:attrName>style.visibility</p:attrName>
                                        </p:attrNameLst>
                                      </p:cBhvr>
                                      <p:to>
                                        <p:strVal val="hidden"/>
                                      </p:to>
                                    </p:set>
                                  </p:childTnLst>
                                </p:cTn>
                              </p:par>
                              <p:par>
                                <p:cTn id="10" presetID="10" presetClass="entr" presetSubtype="0" fill="hold" nodeType="withEffect">
                                  <p:stCondLst>
                                    <p:cond delay="35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AB82A8ED-467D-4AC1-AF70-3DF162DD1385}"/>
              </a:ext>
            </a:extLst>
          </p:cNvPr>
          <p:cNvSpPr/>
          <p:nvPr/>
        </p:nvSpPr>
        <p:spPr>
          <a:xfrm>
            <a:off x="0" y="-9525"/>
            <a:ext cx="2981326" cy="1699103"/>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9" name="Picture 8">
            <a:extLst>
              <a:ext uri="{FF2B5EF4-FFF2-40B4-BE49-F238E27FC236}">
                <a16:creationId xmlns:a16="http://schemas.microsoft.com/office/drawing/2014/main" id="{C96DA465-F361-438C-B37C-60FC09B0669D}"/>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6982" y="1016303"/>
            <a:ext cx="3676988" cy="3438222"/>
          </a:xfrm>
          <a:prstGeom prst="rect">
            <a:avLst/>
          </a:prstGeom>
        </p:spPr>
      </p:pic>
      <p:sp>
        <p:nvSpPr>
          <p:cNvPr id="2" name="Title 1">
            <a:extLst>
              <a:ext uri="{FF2B5EF4-FFF2-40B4-BE49-F238E27FC236}">
                <a16:creationId xmlns:a16="http://schemas.microsoft.com/office/drawing/2014/main" id="{709A0BED-3B07-453C-89DD-CF5DCE1178B9}"/>
              </a:ext>
            </a:extLst>
          </p:cNvPr>
          <p:cNvSpPr>
            <a:spLocks noGrp="1"/>
          </p:cNvSpPr>
          <p:nvPr>
            <p:ph type="title"/>
          </p:nvPr>
        </p:nvSpPr>
        <p:spPr>
          <a:xfrm>
            <a:off x="253678" y="108926"/>
            <a:ext cx="8353424" cy="402336"/>
          </a:xfrm>
        </p:spPr>
        <p:txBody>
          <a:bodyPr/>
          <a:lstStyle/>
          <a:p>
            <a:r>
              <a:rPr lang="en-US" dirty="0">
                <a:solidFill>
                  <a:schemeClr val="tx1">
                    <a:lumMod val="85000"/>
                    <a:lumOff val="15000"/>
                  </a:schemeClr>
                </a:solidFill>
              </a:rPr>
              <a:t>Did you Know?</a:t>
            </a:r>
          </a:p>
        </p:txBody>
      </p:sp>
      <p:sp>
        <p:nvSpPr>
          <p:cNvPr id="5" name="Content Placeholder 6">
            <a:extLst>
              <a:ext uri="{FF2B5EF4-FFF2-40B4-BE49-F238E27FC236}">
                <a16:creationId xmlns:a16="http://schemas.microsoft.com/office/drawing/2014/main" id="{FD5A008B-4DAB-4D76-A668-205C6C1E380C}"/>
              </a:ext>
            </a:extLst>
          </p:cNvPr>
          <p:cNvSpPr>
            <a:spLocks noGrp="1"/>
          </p:cNvSpPr>
          <p:nvPr>
            <p:ph idx="1"/>
          </p:nvPr>
        </p:nvSpPr>
        <p:spPr>
          <a:xfrm>
            <a:off x="5018406" y="847725"/>
            <a:ext cx="3696716" cy="3752850"/>
          </a:xfrm>
        </p:spPr>
        <p:txBody>
          <a:bodyPr vert="horz" lIns="0" tIns="0" rIns="0" bIns="0" rtlCol="0" anchor="t">
            <a:normAutofit/>
          </a:bodyPr>
          <a:lstStyle/>
          <a:p>
            <a:pPr marL="229870" indent="-229870">
              <a:buClr>
                <a:schemeClr val="accent2"/>
              </a:buClr>
            </a:pPr>
            <a:r>
              <a:rPr lang="en-US" sz="1400" dirty="0"/>
              <a:t>The monarch butterfly migrates from Canada to Mexico every year to escape the cold and find food sources. </a:t>
            </a:r>
            <a:endParaRPr lang="en-US" sz="400" dirty="0"/>
          </a:p>
          <a:p>
            <a:pPr marL="229870" indent="-229870">
              <a:buClr>
                <a:schemeClr val="accent2"/>
              </a:buClr>
            </a:pPr>
            <a:r>
              <a:rPr lang="en-US" sz="1400" dirty="0"/>
              <a:t>Biologists at TxDOT found that monarchs travel along the same paths as humans!. </a:t>
            </a:r>
          </a:p>
          <a:p>
            <a:pPr marL="229870" indent="-229870">
              <a:buClr>
                <a:schemeClr val="accent2"/>
              </a:buClr>
            </a:pPr>
            <a:endParaRPr lang="en-US" sz="400" dirty="0"/>
          </a:p>
          <a:p>
            <a:pPr marL="229870" indent="-229870">
              <a:buClr>
                <a:schemeClr val="accent2"/>
              </a:buClr>
            </a:pPr>
            <a:r>
              <a:rPr lang="en-US" sz="1400" dirty="0">
                <a:latin typeface="Franklin Gothic Book"/>
              </a:rPr>
              <a:t>TxDOT plants </a:t>
            </a:r>
            <a:r>
              <a:rPr lang="en-US" sz="1400" b="1" dirty="0">
                <a:latin typeface="Franklin Gothic Book"/>
              </a:rPr>
              <a:t>3,500 acres</a:t>
            </a:r>
            <a:r>
              <a:rPr lang="en-US" sz="1400" dirty="0">
                <a:latin typeface="Franklin Gothic Book"/>
              </a:rPr>
              <a:t> of wildflowers each year to help protect pollinators. </a:t>
            </a:r>
            <a:endParaRPr lang="en-US" sz="900" dirty="0"/>
          </a:p>
        </p:txBody>
      </p:sp>
      <p:sp>
        <p:nvSpPr>
          <p:cNvPr id="13" name="Rectangle 12">
            <a:extLst>
              <a:ext uri="{FF2B5EF4-FFF2-40B4-BE49-F238E27FC236}">
                <a16:creationId xmlns:a16="http://schemas.microsoft.com/office/drawing/2014/main" id="{085BEBE3-B366-41FB-988F-C17F8737BD94}"/>
              </a:ext>
            </a:extLst>
          </p:cNvPr>
          <p:cNvSpPr/>
          <p:nvPr/>
        </p:nvSpPr>
        <p:spPr>
          <a:xfrm>
            <a:off x="1319908" y="3784596"/>
            <a:ext cx="1074041" cy="63530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TextBox 13">
            <a:extLst>
              <a:ext uri="{FF2B5EF4-FFF2-40B4-BE49-F238E27FC236}">
                <a16:creationId xmlns:a16="http://schemas.microsoft.com/office/drawing/2014/main" id="{061FF729-5E5B-4E48-A1CA-F894563EFA48}"/>
              </a:ext>
            </a:extLst>
          </p:cNvPr>
          <p:cNvSpPr txBox="1"/>
          <p:nvPr/>
        </p:nvSpPr>
        <p:spPr>
          <a:xfrm>
            <a:off x="778497" y="3719766"/>
            <a:ext cx="1160885" cy="507831"/>
          </a:xfrm>
          <a:prstGeom prst="rect">
            <a:avLst/>
          </a:prstGeom>
          <a:noFill/>
        </p:spPr>
        <p:txBody>
          <a:bodyPr wrap="square" rtlCol="0">
            <a:spAutoFit/>
          </a:bodyPr>
          <a:lstStyle/>
          <a:p>
            <a:r>
              <a:rPr lang="en-US" sz="900" dirty="0">
                <a:latin typeface="Bahnschrift SemiCondensed" panose="020B0502040204020203" pitchFamily="34" charset="0"/>
              </a:rPr>
              <a:t>Sightings of 100 or more monarchs during migration</a:t>
            </a:r>
          </a:p>
        </p:txBody>
      </p:sp>
      <p:sp>
        <p:nvSpPr>
          <p:cNvPr id="15" name="Oval 14">
            <a:extLst>
              <a:ext uri="{FF2B5EF4-FFF2-40B4-BE49-F238E27FC236}">
                <a16:creationId xmlns:a16="http://schemas.microsoft.com/office/drawing/2014/main" id="{BDB94618-7D15-488A-80E9-18D73EE9FF0C}"/>
              </a:ext>
            </a:extLst>
          </p:cNvPr>
          <p:cNvSpPr/>
          <p:nvPr/>
        </p:nvSpPr>
        <p:spPr>
          <a:xfrm>
            <a:off x="729807" y="3784596"/>
            <a:ext cx="87566" cy="87566"/>
          </a:xfrm>
          <a:prstGeom prst="ellipse">
            <a:avLst/>
          </a:prstGeom>
          <a:solidFill>
            <a:srgbClr val="F79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17" name="Graphic 16">
            <a:extLst>
              <a:ext uri="{FF2B5EF4-FFF2-40B4-BE49-F238E27FC236}">
                <a16:creationId xmlns:a16="http://schemas.microsoft.com/office/drawing/2014/main" id="{10DEB43B-9DF2-426B-8578-878AFF1C7C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4446" y="747931"/>
            <a:ext cx="1340054" cy="1397759"/>
          </a:xfrm>
          <a:prstGeom prst="rect">
            <a:avLst/>
          </a:prstGeom>
        </p:spPr>
      </p:pic>
      <p:sp>
        <p:nvSpPr>
          <p:cNvPr id="20" name="Freeform: Shape 19">
            <a:extLst>
              <a:ext uri="{FF2B5EF4-FFF2-40B4-BE49-F238E27FC236}">
                <a16:creationId xmlns:a16="http://schemas.microsoft.com/office/drawing/2014/main" id="{608DACE4-0EFF-41E3-A866-42882FFC9BD5}"/>
              </a:ext>
            </a:extLst>
          </p:cNvPr>
          <p:cNvSpPr/>
          <p:nvPr/>
        </p:nvSpPr>
        <p:spPr>
          <a:xfrm>
            <a:off x="2870887" y="1919417"/>
            <a:ext cx="605482" cy="1853514"/>
          </a:xfrm>
          <a:custGeom>
            <a:avLst/>
            <a:gdLst>
              <a:gd name="connsiteX0" fmla="*/ 626076 w 638433"/>
              <a:gd name="connsiteY0" fmla="*/ 0 h 1742303"/>
              <a:gd name="connsiteX1" fmla="*/ 617838 w 638433"/>
              <a:gd name="connsiteY1" fmla="*/ 98854 h 1742303"/>
              <a:gd name="connsiteX2" fmla="*/ 621957 w 638433"/>
              <a:gd name="connsiteY2" fmla="*/ 160638 h 1742303"/>
              <a:gd name="connsiteX3" fmla="*/ 589006 w 638433"/>
              <a:gd name="connsiteY3" fmla="*/ 218303 h 1742303"/>
              <a:gd name="connsiteX4" fmla="*/ 580768 w 638433"/>
              <a:gd name="connsiteY4" fmla="*/ 234779 h 1742303"/>
              <a:gd name="connsiteX5" fmla="*/ 576649 w 638433"/>
              <a:gd name="connsiteY5" fmla="*/ 317157 h 1742303"/>
              <a:gd name="connsiteX6" fmla="*/ 576649 w 638433"/>
              <a:gd name="connsiteY6" fmla="*/ 358346 h 1742303"/>
              <a:gd name="connsiteX7" fmla="*/ 613719 w 638433"/>
              <a:gd name="connsiteY7" fmla="*/ 407773 h 1742303"/>
              <a:gd name="connsiteX8" fmla="*/ 634314 w 638433"/>
              <a:gd name="connsiteY8" fmla="*/ 469557 h 1742303"/>
              <a:gd name="connsiteX9" fmla="*/ 638433 w 638433"/>
              <a:gd name="connsiteY9" fmla="*/ 494270 h 1742303"/>
              <a:gd name="connsiteX10" fmla="*/ 638433 w 638433"/>
              <a:gd name="connsiteY10" fmla="*/ 518984 h 1742303"/>
              <a:gd name="connsiteX11" fmla="*/ 634314 w 638433"/>
              <a:gd name="connsiteY11" fmla="*/ 539579 h 1742303"/>
              <a:gd name="connsiteX12" fmla="*/ 638433 w 638433"/>
              <a:gd name="connsiteY12" fmla="*/ 576649 h 1742303"/>
              <a:gd name="connsiteX13" fmla="*/ 634314 w 638433"/>
              <a:gd name="connsiteY13" fmla="*/ 621957 h 1742303"/>
              <a:gd name="connsiteX14" fmla="*/ 613719 w 638433"/>
              <a:gd name="connsiteY14" fmla="*/ 667265 h 1742303"/>
              <a:gd name="connsiteX15" fmla="*/ 576649 w 638433"/>
              <a:gd name="connsiteY15" fmla="*/ 741406 h 1742303"/>
              <a:gd name="connsiteX16" fmla="*/ 556054 w 638433"/>
              <a:gd name="connsiteY16" fmla="*/ 762000 h 1742303"/>
              <a:gd name="connsiteX17" fmla="*/ 527222 w 638433"/>
              <a:gd name="connsiteY17" fmla="*/ 794952 h 1742303"/>
              <a:gd name="connsiteX18" fmla="*/ 477795 w 638433"/>
              <a:gd name="connsiteY18" fmla="*/ 881449 h 1742303"/>
              <a:gd name="connsiteX19" fmla="*/ 481914 w 638433"/>
              <a:gd name="connsiteY19" fmla="*/ 910281 h 1742303"/>
              <a:gd name="connsiteX20" fmla="*/ 481914 w 638433"/>
              <a:gd name="connsiteY20" fmla="*/ 930876 h 1742303"/>
              <a:gd name="connsiteX21" fmla="*/ 481914 w 638433"/>
              <a:gd name="connsiteY21" fmla="*/ 967946 h 1742303"/>
              <a:gd name="connsiteX22" fmla="*/ 473676 w 638433"/>
              <a:gd name="connsiteY22" fmla="*/ 992660 h 1742303"/>
              <a:gd name="connsiteX23" fmla="*/ 436606 w 638433"/>
              <a:gd name="connsiteY23" fmla="*/ 1062681 h 1742303"/>
              <a:gd name="connsiteX24" fmla="*/ 428368 w 638433"/>
              <a:gd name="connsiteY24" fmla="*/ 1099752 h 1742303"/>
              <a:gd name="connsiteX25" fmla="*/ 391297 w 638433"/>
              <a:gd name="connsiteY25" fmla="*/ 1136822 h 1742303"/>
              <a:gd name="connsiteX26" fmla="*/ 370703 w 638433"/>
              <a:gd name="connsiteY26" fmla="*/ 1153298 h 1742303"/>
              <a:gd name="connsiteX27" fmla="*/ 296562 w 638433"/>
              <a:gd name="connsiteY27" fmla="*/ 1202725 h 1742303"/>
              <a:gd name="connsiteX28" fmla="*/ 284206 w 638433"/>
              <a:gd name="connsiteY28" fmla="*/ 1223319 h 1742303"/>
              <a:gd name="connsiteX29" fmla="*/ 271849 w 638433"/>
              <a:gd name="connsiteY29" fmla="*/ 1223319 h 1742303"/>
              <a:gd name="connsiteX30" fmla="*/ 259492 w 638433"/>
              <a:gd name="connsiteY30" fmla="*/ 1248033 h 1742303"/>
              <a:gd name="connsiteX31" fmla="*/ 226541 w 638433"/>
              <a:gd name="connsiteY31" fmla="*/ 1268627 h 1742303"/>
              <a:gd name="connsiteX32" fmla="*/ 197708 w 638433"/>
              <a:gd name="connsiteY32" fmla="*/ 1276865 h 1742303"/>
              <a:gd name="connsiteX33" fmla="*/ 127687 w 638433"/>
              <a:gd name="connsiteY33" fmla="*/ 1338649 h 1742303"/>
              <a:gd name="connsiteX34" fmla="*/ 102973 w 638433"/>
              <a:gd name="connsiteY34" fmla="*/ 1416908 h 1742303"/>
              <a:gd name="connsiteX35" fmla="*/ 0 w 638433"/>
              <a:gd name="connsiteY35" fmla="*/ 1742303 h 1742303"/>
              <a:gd name="connsiteX0" fmla="*/ 593125 w 605482"/>
              <a:gd name="connsiteY0" fmla="*/ 0 h 1853514"/>
              <a:gd name="connsiteX1" fmla="*/ 584887 w 605482"/>
              <a:gd name="connsiteY1" fmla="*/ 98854 h 1853514"/>
              <a:gd name="connsiteX2" fmla="*/ 589006 w 605482"/>
              <a:gd name="connsiteY2" fmla="*/ 160638 h 1853514"/>
              <a:gd name="connsiteX3" fmla="*/ 556055 w 605482"/>
              <a:gd name="connsiteY3" fmla="*/ 218303 h 1853514"/>
              <a:gd name="connsiteX4" fmla="*/ 547817 w 605482"/>
              <a:gd name="connsiteY4" fmla="*/ 234779 h 1853514"/>
              <a:gd name="connsiteX5" fmla="*/ 543698 w 605482"/>
              <a:gd name="connsiteY5" fmla="*/ 317157 h 1853514"/>
              <a:gd name="connsiteX6" fmla="*/ 543698 w 605482"/>
              <a:gd name="connsiteY6" fmla="*/ 358346 h 1853514"/>
              <a:gd name="connsiteX7" fmla="*/ 580768 w 605482"/>
              <a:gd name="connsiteY7" fmla="*/ 407773 h 1853514"/>
              <a:gd name="connsiteX8" fmla="*/ 601363 w 605482"/>
              <a:gd name="connsiteY8" fmla="*/ 469557 h 1853514"/>
              <a:gd name="connsiteX9" fmla="*/ 605482 w 605482"/>
              <a:gd name="connsiteY9" fmla="*/ 494270 h 1853514"/>
              <a:gd name="connsiteX10" fmla="*/ 605482 w 605482"/>
              <a:gd name="connsiteY10" fmla="*/ 518984 h 1853514"/>
              <a:gd name="connsiteX11" fmla="*/ 601363 w 605482"/>
              <a:gd name="connsiteY11" fmla="*/ 539579 h 1853514"/>
              <a:gd name="connsiteX12" fmla="*/ 605482 w 605482"/>
              <a:gd name="connsiteY12" fmla="*/ 576649 h 1853514"/>
              <a:gd name="connsiteX13" fmla="*/ 601363 w 605482"/>
              <a:gd name="connsiteY13" fmla="*/ 621957 h 1853514"/>
              <a:gd name="connsiteX14" fmla="*/ 580768 w 605482"/>
              <a:gd name="connsiteY14" fmla="*/ 667265 h 1853514"/>
              <a:gd name="connsiteX15" fmla="*/ 543698 w 605482"/>
              <a:gd name="connsiteY15" fmla="*/ 741406 h 1853514"/>
              <a:gd name="connsiteX16" fmla="*/ 523103 w 605482"/>
              <a:gd name="connsiteY16" fmla="*/ 762000 h 1853514"/>
              <a:gd name="connsiteX17" fmla="*/ 494271 w 605482"/>
              <a:gd name="connsiteY17" fmla="*/ 794952 h 1853514"/>
              <a:gd name="connsiteX18" fmla="*/ 444844 w 605482"/>
              <a:gd name="connsiteY18" fmla="*/ 881449 h 1853514"/>
              <a:gd name="connsiteX19" fmla="*/ 448963 w 605482"/>
              <a:gd name="connsiteY19" fmla="*/ 910281 h 1853514"/>
              <a:gd name="connsiteX20" fmla="*/ 448963 w 605482"/>
              <a:gd name="connsiteY20" fmla="*/ 930876 h 1853514"/>
              <a:gd name="connsiteX21" fmla="*/ 448963 w 605482"/>
              <a:gd name="connsiteY21" fmla="*/ 967946 h 1853514"/>
              <a:gd name="connsiteX22" fmla="*/ 440725 w 605482"/>
              <a:gd name="connsiteY22" fmla="*/ 992660 h 1853514"/>
              <a:gd name="connsiteX23" fmla="*/ 403655 w 605482"/>
              <a:gd name="connsiteY23" fmla="*/ 1062681 h 1853514"/>
              <a:gd name="connsiteX24" fmla="*/ 395417 w 605482"/>
              <a:gd name="connsiteY24" fmla="*/ 1099752 h 1853514"/>
              <a:gd name="connsiteX25" fmla="*/ 358346 w 605482"/>
              <a:gd name="connsiteY25" fmla="*/ 1136822 h 1853514"/>
              <a:gd name="connsiteX26" fmla="*/ 337752 w 605482"/>
              <a:gd name="connsiteY26" fmla="*/ 1153298 h 1853514"/>
              <a:gd name="connsiteX27" fmla="*/ 263611 w 605482"/>
              <a:gd name="connsiteY27" fmla="*/ 1202725 h 1853514"/>
              <a:gd name="connsiteX28" fmla="*/ 251255 w 605482"/>
              <a:gd name="connsiteY28" fmla="*/ 1223319 h 1853514"/>
              <a:gd name="connsiteX29" fmla="*/ 238898 w 605482"/>
              <a:gd name="connsiteY29" fmla="*/ 1223319 h 1853514"/>
              <a:gd name="connsiteX30" fmla="*/ 226541 w 605482"/>
              <a:gd name="connsiteY30" fmla="*/ 1248033 h 1853514"/>
              <a:gd name="connsiteX31" fmla="*/ 193590 w 605482"/>
              <a:gd name="connsiteY31" fmla="*/ 1268627 h 1853514"/>
              <a:gd name="connsiteX32" fmla="*/ 164757 w 605482"/>
              <a:gd name="connsiteY32" fmla="*/ 1276865 h 1853514"/>
              <a:gd name="connsiteX33" fmla="*/ 94736 w 605482"/>
              <a:gd name="connsiteY33" fmla="*/ 1338649 h 1853514"/>
              <a:gd name="connsiteX34" fmla="*/ 70022 w 605482"/>
              <a:gd name="connsiteY34" fmla="*/ 1416908 h 1853514"/>
              <a:gd name="connsiteX35" fmla="*/ 0 w 605482"/>
              <a:gd name="connsiteY35" fmla="*/ 1853514 h 1853514"/>
              <a:gd name="connsiteX0" fmla="*/ 584887 w 605482"/>
              <a:gd name="connsiteY0" fmla="*/ 0 h 1853514"/>
              <a:gd name="connsiteX1" fmla="*/ 584887 w 605482"/>
              <a:gd name="connsiteY1" fmla="*/ 98854 h 1853514"/>
              <a:gd name="connsiteX2" fmla="*/ 589006 w 605482"/>
              <a:gd name="connsiteY2" fmla="*/ 160638 h 1853514"/>
              <a:gd name="connsiteX3" fmla="*/ 556055 w 605482"/>
              <a:gd name="connsiteY3" fmla="*/ 218303 h 1853514"/>
              <a:gd name="connsiteX4" fmla="*/ 547817 w 605482"/>
              <a:gd name="connsiteY4" fmla="*/ 234779 h 1853514"/>
              <a:gd name="connsiteX5" fmla="*/ 543698 w 605482"/>
              <a:gd name="connsiteY5" fmla="*/ 317157 h 1853514"/>
              <a:gd name="connsiteX6" fmla="*/ 543698 w 605482"/>
              <a:gd name="connsiteY6" fmla="*/ 358346 h 1853514"/>
              <a:gd name="connsiteX7" fmla="*/ 580768 w 605482"/>
              <a:gd name="connsiteY7" fmla="*/ 407773 h 1853514"/>
              <a:gd name="connsiteX8" fmla="*/ 601363 w 605482"/>
              <a:gd name="connsiteY8" fmla="*/ 469557 h 1853514"/>
              <a:gd name="connsiteX9" fmla="*/ 605482 w 605482"/>
              <a:gd name="connsiteY9" fmla="*/ 494270 h 1853514"/>
              <a:gd name="connsiteX10" fmla="*/ 605482 w 605482"/>
              <a:gd name="connsiteY10" fmla="*/ 518984 h 1853514"/>
              <a:gd name="connsiteX11" fmla="*/ 601363 w 605482"/>
              <a:gd name="connsiteY11" fmla="*/ 539579 h 1853514"/>
              <a:gd name="connsiteX12" fmla="*/ 605482 w 605482"/>
              <a:gd name="connsiteY12" fmla="*/ 576649 h 1853514"/>
              <a:gd name="connsiteX13" fmla="*/ 601363 w 605482"/>
              <a:gd name="connsiteY13" fmla="*/ 621957 h 1853514"/>
              <a:gd name="connsiteX14" fmla="*/ 580768 w 605482"/>
              <a:gd name="connsiteY14" fmla="*/ 667265 h 1853514"/>
              <a:gd name="connsiteX15" fmla="*/ 543698 w 605482"/>
              <a:gd name="connsiteY15" fmla="*/ 741406 h 1853514"/>
              <a:gd name="connsiteX16" fmla="*/ 523103 w 605482"/>
              <a:gd name="connsiteY16" fmla="*/ 762000 h 1853514"/>
              <a:gd name="connsiteX17" fmla="*/ 494271 w 605482"/>
              <a:gd name="connsiteY17" fmla="*/ 794952 h 1853514"/>
              <a:gd name="connsiteX18" fmla="*/ 444844 w 605482"/>
              <a:gd name="connsiteY18" fmla="*/ 881449 h 1853514"/>
              <a:gd name="connsiteX19" fmla="*/ 448963 w 605482"/>
              <a:gd name="connsiteY19" fmla="*/ 910281 h 1853514"/>
              <a:gd name="connsiteX20" fmla="*/ 448963 w 605482"/>
              <a:gd name="connsiteY20" fmla="*/ 930876 h 1853514"/>
              <a:gd name="connsiteX21" fmla="*/ 448963 w 605482"/>
              <a:gd name="connsiteY21" fmla="*/ 967946 h 1853514"/>
              <a:gd name="connsiteX22" fmla="*/ 440725 w 605482"/>
              <a:gd name="connsiteY22" fmla="*/ 992660 h 1853514"/>
              <a:gd name="connsiteX23" fmla="*/ 403655 w 605482"/>
              <a:gd name="connsiteY23" fmla="*/ 1062681 h 1853514"/>
              <a:gd name="connsiteX24" fmla="*/ 395417 w 605482"/>
              <a:gd name="connsiteY24" fmla="*/ 1099752 h 1853514"/>
              <a:gd name="connsiteX25" fmla="*/ 358346 w 605482"/>
              <a:gd name="connsiteY25" fmla="*/ 1136822 h 1853514"/>
              <a:gd name="connsiteX26" fmla="*/ 337752 w 605482"/>
              <a:gd name="connsiteY26" fmla="*/ 1153298 h 1853514"/>
              <a:gd name="connsiteX27" fmla="*/ 263611 w 605482"/>
              <a:gd name="connsiteY27" fmla="*/ 1202725 h 1853514"/>
              <a:gd name="connsiteX28" fmla="*/ 251255 w 605482"/>
              <a:gd name="connsiteY28" fmla="*/ 1223319 h 1853514"/>
              <a:gd name="connsiteX29" fmla="*/ 238898 w 605482"/>
              <a:gd name="connsiteY29" fmla="*/ 1223319 h 1853514"/>
              <a:gd name="connsiteX30" fmla="*/ 226541 w 605482"/>
              <a:gd name="connsiteY30" fmla="*/ 1248033 h 1853514"/>
              <a:gd name="connsiteX31" fmla="*/ 193590 w 605482"/>
              <a:gd name="connsiteY31" fmla="*/ 1268627 h 1853514"/>
              <a:gd name="connsiteX32" fmla="*/ 164757 w 605482"/>
              <a:gd name="connsiteY32" fmla="*/ 1276865 h 1853514"/>
              <a:gd name="connsiteX33" fmla="*/ 94736 w 605482"/>
              <a:gd name="connsiteY33" fmla="*/ 1338649 h 1853514"/>
              <a:gd name="connsiteX34" fmla="*/ 70022 w 605482"/>
              <a:gd name="connsiteY34" fmla="*/ 1416908 h 1853514"/>
              <a:gd name="connsiteX35" fmla="*/ 0 w 605482"/>
              <a:gd name="connsiteY35" fmla="*/ 1853514 h 185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5482" h="1853514">
                <a:moveTo>
                  <a:pt x="584887" y="0"/>
                </a:moveTo>
                <a:lnTo>
                  <a:pt x="584887" y="98854"/>
                </a:lnTo>
                <a:lnTo>
                  <a:pt x="589006" y="160638"/>
                </a:lnTo>
                <a:lnTo>
                  <a:pt x="556055" y="218303"/>
                </a:lnTo>
                <a:lnTo>
                  <a:pt x="547817" y="234779"/>
                </a:lnTo>
                <a:lnTo>
                  <a:pt x="543698" y="317157"/>
                </a:lnTo>
                <a:lnTo>
                  <a:pt x="543698" y="358346"/>
                </a:lnTo>
                <a:lnTo>
                  <a:pt x="580768" y="407773"/>
                </a:lnTo>
                <a:lnTo>
                  <a:pt x="601363" y="469557"/>
                </a:lnTo>
                <a:lnTo>
                  <a:pt x="605482" y="494270"/>
                </a:lnTo>
                <a:lnTo>
                  <a:pt x="605482" y="518984"/>
                </a:lnTo>
                <a:lnTo>
                  <a:pt x="601363" y="539579"/>
                </a:lnTo>
                <a:lnTo>
                  <a:pt x="605482" y="576649"/>
                </a:lnTo>
                <a:lnTo>
                  <a:pt x="601363" y="621957"/>
                </a:lnTo>
                <a:lnTo>
                  <a:pt x="580768" y="667265"/>
                </a:lnTo>
                <a:lnTo>
                  <a:pt x="543698" y="741406"/>
                </a:lnTo>
                <a:lnTo>
                  <a:pt x="523103" y="762000"/>
                </a:lnTo>
                <a:lnTo>
                  <a:pt x="494271" y="794952"/>
                </a:lnTo>
                <a:lnTo>
                  <a:pt x="444844" y="881449"/>
                </a:lnTo>
                <a:lnTo>
                  <a:pt x="448963" y="910281"/>
                </a:lnTo>
                <a:lnTo>
                  <a:pt x="448963" y="930876"/>
                </a:lnTo>
                <a:lnTo>
                  <a:pt x="448963" y="967946"/>
                </a:lnTo>
                <a:lnTo>
                  <a:pt x="440725" y="992660"/>
                </a:lnTo>
                <a:lnTo>
                  <a:pt x="403655" y="1062681"/>
                </a:lnTo>
                <a:lnTo>
                  <a:pt x="395417" y="1099752"/>
                </a:lnTo>
                <a:lnTo>
                  <a:pt x="358346" y="1136822"/>
                </a:lnTo>
                <a:lnTo>
                  <a:pt x="337752" y="1153298"/>
                </a:lnTo>
                <a:lnTo>
                  <a:pt x="263611" y="1202725"/>
                </a:lnTo>
                <a:lnTo>
                  <a:pt x="251255" y="1223319"/>
                </a:lnTo>
                <a:lnTo>
                  <a:pt x="238898" y="1223319"/>
                </a:lnTo>
                <a:lnTo>
                  <a:pt x="226541" y="1248033"/>
                </a:lnTo>
                <a:lnTo>
                  <a:pt x="193590" y="1268627"/>
                </a:lnTo>
                <a:lnTo>
                  <a:pt x="164757" y="1276865"/>
                </a:lnTo>
                <a:lnTo>
                  <a:pt x="94736" y="1338649"/>
                </a:lnTo>
                <a:cubicBezTo>
                  <a:pt x="86498" y="1364735"/>
                  <a:pt x="85811" y="1331097"/>
                  <a:pt x="70022" y="1416908"/>
                </a:cubicBezTo>
                <a:cubicBezTo>
                  <a:pt x="54233" y="1502719"/>
                  <a:pt x="23341" y="1707979"/>
                  <a:pt x="0" y="1853514"/>
                </a:cubicBezTo>
              </a:path>
            </a:pathLst>
          </a:custGeom>
          <a:noFill/>
          <a:ln w="3810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64B5E47C-9C7E-47CF-9986-73483F96254C}"/>
              </a:ext>
            </a:extLst>
          </p:cNvPr>
          <p:cNvSpPr/>
          <p:nvPr/>
        </p:nvSpPr>
        <p:spPr>
          <a:xfrm>
            <a:off x="3459892" y="2071816"/>
            <a:ext cx="86497" cy="329514"/>
          </a:xfrm>
          <a:custGeom>
            <a:avLst/>
            <a:gdLst>
              <a:gd name="connsiteX0" fmla="*/ 0 w 86497"/>
              <a:gd name="connsiteY0" fmla="*/ 0 h 329514"/>
              <a:gd name="connsiteX1" fmla="*/ 49427 w 86497"/>
              <a:gd name="connsiteY1" fmla="*/ 53546 h 329514"/>
              <a:gd name="connsiteX2" fmla="*/ 57665 w 86497"/>
              <a:gd name="connsiteY2" fmla="*/ 82379 h 329514"/>
              <a:gd name="connsiteX3" fmla="*/ 65903 w 86497"/>
              <a:gd name="connsiteY3" fmla="*/ 98854 h 329514"/>
              <a:gd name="connsiteX4" fmla="*/ 78259 w 86497"/>
              <a:gd name="connsiteY4" fmla="*/ 119449 h 329514"/>
              <a:gd name="connsiteX5" fmla="*/ 82378 w 86497"/>
              <a:gd name="connsiteY5" fmla="*/ 152400 h 329514"/>
              <a:gd name="connsiteX6" fmla="*/ 86497 w 86497"/>
              <a:gd name="connsiteY6" fmla="*/ 214184 h 329514"/>
              <a:gd name="connsiteX7" fmla="*/ 74140 w 86497"/>
              <a:gd name="connsiteY7" fmla="*/ 234779 h 329514"/>
              <a:gd name="connsiteX8" fmla="*/ 70022 w 86497"/>
              <a:gd name="connsiteY8" fmla="*/ 284206 h 329514"/>
              <a:gd name="connsiteX9" fmla="*/ 57665 w 86497"/>
              <a:gd name="connsiteY9" fmla="*/ 308919 h 329514"/>
              <a:gd name="connsiteX10" fmla="*/ 20594 w 86497"/>
              <a:gd name="connsiteY10" fmla="*/ 329514 h 32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497" h="329514">
                <a:moveTo>
                  <a:pt x="0" y="0"/>
                </a:moveTo>
                <a:lnTo>
                  <a:pt x="49427" y="53546"/>
                </a:lnTo>
                <a:lnTo>
                  <a:pt x="57665" y="82379"/>
                </a:lnTo>
                <a:lnTo>
                  <a:pt x="65903" y="98854"/>
                </a:lnTo>
                <a:lnTo>
                  <a:pt x="78259" y="119449"/>
                </a:lnTo>
                <a:lnTo>
                  <a:pt x="82378" y="152400"/>
                </a:lnTo>
                <a:lnTo>
                  <a:pt x="86497" y="214184"/>
                </a:lnTo>
                <a:lnTo>
                  <a:pt x="74140" y="234779"/>
                </a:lnTo>
                <a:lnTo>
                  <a:pt x="70022" y="284206"/>
                </a:lnTo>
                <a:lnTo>
                  <a:pt x="57665" y="308919"/>
                </a:lnTo>
                <a:lnTo>
                  <a:pt x="20594" y="329514"/>
                </a:lnTo>
              </a:path>
            </a:pathLst>
          </a:custGeom>
          <a:noFill/>
          <a:ln w="3810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775C3173-A762-4F91-A432-EBA42DC2E4A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03276" y="1212445"/>
            <a:ext cx="729584" cy="729584"/>
          </a:xfrm>
          <a:prstGeom prst="rect">
            <a:avLst/>
          </a:prstGeom>
        </p:spPr>
      </p:pic>
      <p:pic>
        <p:nvPicPr>
          <p:cNvPr id="32" name="Picture 31">
            <a:extLst>
              <a:ext uri="{FF2B5EF4-FFF2-40B4-BE49-F238E27FC236}">
                <a16:creationId xmlns:a16="http://schemas.microsoft.com/office/drawing/2014/main" id="{58448B9C-23FB-4D2D-AE16-88386A150A7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304235">
            <a:off x="5096389" y="-740233"/>
            <a:ext cx="508272" cy="351880"/>
          </a:xfrm>
          <a:prstGeom prst="rect">
            <a:avLst/>
          </a:prstGeom>
        </p:spPr>
      </p:pic>
      <p:pic>
        <p:nvPicPr>
          <p:cNvPr id="34" name="Picture 33">
            <a:extLst>
              <a:ext uri="{FF2B5EF4-FFF2-40B4-BE49-F238E27FC236}">
                <a16:creationId xmlns:a16="http://schemas.microsoft.com/office/drawing/2014/main" id="{1D27930B-4BAF-45F2-BF8F-433402AA877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379613">
            <a:off x="4381806" y="-1068937"/>
            <a:ext cx="354741" cy="245589"/>
          </a:xfrm>
          <a:prstGeom prst="rect">
            <a:avLst/>
          </a:prstGeom>
        </p:spPr>
      </p:pic>
      <p:pic>
        <p:nvPicPr>
          <p:cNvPr id="35" name="Picture 34">
            <a:extLst>
              <a:ext uri="{FF2B5EF4-FFF2-40B4-BE49-F238E27FC236}">
                <a16:creationId xmlns:a16="http://schemas.microsoft.com/office/drawing/2014/main" id="{5ED5C062-2C3C-4DE3-938B-121379DAF8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16423">
            <a:off x="4417315" y="-736713"/>
            <a:ext cx="354741" cy="245589"/>
          </a:xfrm>
          <a:prstGeom prst="rect">
            <a:avLst/>
          </a:prstGeom>
        </p:spPr>
      </p:pic>
      <p:pic>
        <p:nvPicPr>
          <p:cNvPr id="36" name="Picture 35">
            <a:extLst>
              <a:ext uri="{FF2B5EF4-FFF2-40B4-BE49-F238E27FC236}">
                <a16:creationId xmlns:a16="http://schemas.microsoft.com/office/drawing/2014/main" id="{A746B8D9-BFA1-4689-93E0-078E1AB7782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002276">
            <a:off x="3457237" y="-1035977"/>
            <a:ext cx="505832" cy="350190"/>
          </a:xfrm>
          <a:prstGeom prst="rect">
            <a:avLst/>
          </a:prstGeom>
        </p:spPr>
      </p:pic>
      <p:pic>
        <p:nvPicPr>
          <p:cNvPr id="37" name="Picture 36">
            <a:extLst>
              <a:ext uri="{FF2B5EF4-FFF2-40B4-BE49-F238E27FC236}">
                <a16:creationId xmlns:a16="http://schemas.microsoft.com/office/drawing/2014/main" id="{86372A09-00DD-4FE4-9616-8DC7F964007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3265001">
            <a:off x="5060090" y="-1067790"/>
            <a:ext cx="399461" cy="276549"/>
          </a:xfrm>
          <a:prstGeom prst="rect">
            <a:avLst/>
          </a:prstGeom>
        </p:spPr>
      </p:pic>
      <p:pic>
        <p:nvPicPr>
          <p:cNvPr id="38" name="Picture 37">
            <a:extLst>
              <a:ext uri="{FF2B5EF4-FFF2-40B4-BE49-F238E27FC236}">
                <a16:creationId xmlns:a16="http://schemas.microsoft.com/office/drawing/2014/main" id="{3655DBED-29C5-4FEB-A8DF-813779DEE6F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53647">
            <a:off x="4589851" y="-853848"/>
            <a:ext cx="399461" cy="276549"/>
          </a:xfrm>
          <a:prstGeom prst="rect">
            <a:avLst/>
          </a:prstGeom>
        </p:spPr>
      </p:pic>
      <p:pic>
        <p:nvPicPr>
          <p:cNvPr id="39" name="Picture 38">
            <a:extLst>
              <a:ext uri="{FF2B5EF4-FFF2-40B4-BE49-F238E27FC236}">
                <a16:creationId xmlns:a16="http://schemas.microsoft.com/office/drawing/2014/main" id="{758796CC-CA49-4138-AEFC-74D8EE3A403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3084595">
            <a:off x="2978788" y="-563523"/>
            <a:ext cx="340598" cy="235798"/>
          </a:xfrm>
          <a:prstGeom prst="rect">
            <a:avLst/>
          </a:prstGeom>
        </p:spPr>
      </p:pic>
      <p:pic>
        <p:nvPicPr>
          <p:cNvPr id="40" name="Picture 39">
            <a:extLst>
              <a:ext uri="{FF2B5EF4-FFF2-40B4-BE49-F238E27FC236}">
                <a16:creationId xmlns:a16="http://schemas.microsoft.com/office/drawing/2014/main" id="{D731AFFA-0FEA-491B-95DF-8872C2F8947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3245930">
            <a:off x="3753612" y="-487763"/>
            <a:ext cx="508272" cy="351880"/>
          </a:xfrm>
          <a:prstGeom prst="rect">
            <a:avLst/>
          </a:prstGeom>
        </p:spPr>
      </p:pic>
      <p:pic>
        <p:nvPicPr>
          <p:cNvPr id="41" name="Picture 40">
            <a:extLst>
              <a:ext uri="{FF2B5EF4-FFF2-40B4-BE49-F238E27FC236}">
                <a16:creationId xmlns:a16="http://schemas.microsoft.com/office/drawing/2014/main" id="{DCCA5CB9-F494-4B79-89C7-9EBF4C0659C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477826">
            <a:off x="3123622" y="-1175415"/>
            <a:ext cx="340598" cy="235798"/>
          </a:xfrm>
          <a:prstGeom prst="rect">
            <a:avLst/>
          </a:prstGeom>
        </p:spPr>
      </p:pic>
      <p:pic>
        <p:nvPicPr>
          <p:cNvPr id="42" name="Picture 41">
            <a:extLst>
              <a:ext uri="{FF2B5EF4-FFF2-40B4-BE49-F238E27FC236}">
                <a16:creationId xmlns:a16="http://schemas.microsoft.com/office/drawing/2014/main" id="{3B472A6A-161A-4BBF-BC2D-F1BFF3B3DBE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480598">
            <a:off x="3513173" y="-753819"/>
            <a:ext cx="415335" cy="287538"/>
          </a:xfrm>
          <a:prstGeom prst="rect">
            <a:avLst/>
          </a:prstGeom>
        </p:spPr>
      </p:pic>
      <p:pic>
        <p:nvPicPr>
          <p:cNvPr id="44" name="Picture 43">
            <a:extLst>
              <a:ext uri="{FF2B5EF4-FFF2-40B4-BE49-F238E27FC236}">
                <a16:creationId xmlns:a16="http://schemas.microsoft.com/office/drawing/2014/main" id="{A9F8029C-FA3C-47F3-98EC-005555F101D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26234">
            <a:off x="4073635" y="-1389505"/>
            <a:ext cx="415335" cy="287538"/>
          </a:xfrm>
          <a:prstGeom prst="rect">
            <a:avLst/>
          </a:prstGeom>
        </p:spPr>
      </p:pic>
      <p:pic>
        <p:nvPicPr>
          <p:cNvPr id="45" name="Picture 44">
            <a:extLst>
              <a:ext uri="{FF2B5EF4-FFF2-40B4-BE49-F238E27FC236}">
                <a16:creationId xmlns:a16="http://schemas.microsoft.com/office/drawing/2014/main" id="{1178FF20-1E52-460D-A75E-7DB232EAE4D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262492">
            <a:off x="3285376" y="-412077"/>
            <a:ext cx="415335" cy="287538"/>
          </a:xfrm>
          <a:prstGeom prst="rect">
            <a:avLst/>
          </a:prstGeom>
        </p:spPr>
      </p:pic>
      <p:pic>
        <p:nvPicPr>
          <p:cNvPr id="46" name="Picture 45">
            <a:extLst>
              <a:ext uri="{FF2B5EF4-FFF2-40B4-BE49-F238E27FC236}">
                <a16:creationId xmlns:a16="http://schemas.microsoft.com/office/drawing/2014/main" id="{BCDD06D4-ED64-4BD9-9271-E03E520F23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961389">
            <a:off x="4579090" y="-1261571"/>
            <a:ext cx="415335" cy="287538"/>
          </a:xfrm>
          <a:prstGeom prst="rect">
            <a:avLst/>
          </a:prstGeom>
        </p:spPr>
      </p:pic>
      <p:pic>
        <p:nvPicPr>
          <p:cNvPr id="47" name="Picture 46">
            <a:extLst>
              <a:ext uri="{FF2B5EF4-FFF2-40B4-BE49-F238E27FC236}">
                <a16:creationId xmlns:a16="http://schemas.microsoft.com/office/drawing/2014/main" id="{4193979D-84AF-444F-B12C-5ED4D5AEF9F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16423">
            <a:off x="3490924" y="-1296462"/>
            <a:ext cx="354741" cy="245589"/>
          </a:xfrm>
          <a:prstGeom prst="rect">
            <a:avLst/>
          </a:prstGeom>
        </p:spPr>
      </p:pic>
      <p:pic>
        <p:nvPicPr>
          <p:cNvPr id="48" name="Picture 47">
            <a:extLst>
              <a:ext uri="{FF2B5EF4-FFF2-40B4-BE49-F238E27FC236}">
                <a16:creationId xmlns:a16="http://schemas.microsoft.com/office/drawing/2014/main" id="{D8DC0367-A8E8-4B01-B325-78A4F8E2316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16423">
            <a:off x="3886957" y="-808188"/>
            <a:ext cx="354741" cy="245589"/>
          </a:xfrm>
          <a:prstGeom prst="rect">
            <a:avLst/>
          </a:prstGeom>
        </p:spPr>
      </p:pic>
      <p:pic>
        <p:nvPicPr>
          <p:cNvPr id="49" name="Picture 48">
            <a:extLst>
              <a:ext uri="{FF2B5EF4-FFF2-40B4-BE49-F238E27FC236}">
                <a16:creationId xmlns:a16="http://schemas.microsoft.com/office/drawing/2014/main" id="{2E12F771-6C0D-4550-97D3-E80503865F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16423">
            <a:off x="4485574" y="-235518"/>
            <a:ext cx="354741" cy="245589"/>
          </a:xfrm>
          <a:prstGeom prst="rect">
            <a:avLst/>
          </a:prstGeom>
        </p:spPr>
      </p:pic>
      <p:pic>
        <p:nvPicPr>
          <p:cNvPr id="50" name="Picture 49">
            <a:extLst>
              <a:ext uri="{FF2B5EF4-FFF2-40B4-BE49-F238E27FC236}">
                <a16:creationId xmlns:a16="http://schemas.microsoft.com/office/drawing/2014/main" id="{77614E23-6ECA-4A93-8942-A63351A89D2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477826">
            <a:off x="3165194" y="-779000"/>
            <a:ext cx="340598" cy="235798"/>
          </a:xfrm>
          <a:prstGeom prst="rect">
            <a:avLst/>
          </a:prstGeom>
        </p:spPr>
      </p:pic>
      <p:pic>
        <p:nvPicPr>
          <p:cNvPr id="51" name="Picture 50">
            <a:extLst>
              <a:ext uri="{FF2B5EF4-FFF2-40B4-BE49-F238E27FC236}">
                <a16:creationId xmlns:a16="http://schemas.microsoft.com/office/drawing/2014/main" id="{8B0BA5A2-98BC-4C6F-B457-B3C2520B0DA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16423">
            <a:off x="3156624" y="-235519"/>
            <a:ext cx="354741" cy="245589"/>
          </a:xfrm>
          <a:prstGeom prst="rect">
            <a:avLst/>
          </a:prstGeom>
        </p:spPr>
      </p:pic>
      <p:pic>
        <p:nvPicPr>
          <p:cNvPr id="52" name="Picture 51">
            <a:extLst>
              <a:ext uri="{FF2B5EF4-FFF2-40B4-BE49-F238E27FC236}">
                <a16:creationId xmlns:a16="http://schemas.microsoft.com/office/drawing/2014/main" id="{DFD56A4A-21CF-451E-A410-1E4A02B1B6A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3084595">
            <a:off x="3710839" y="-250554"/>
            <a:ext cx="340598" cy="235798"/>
          </a:xfrm>
          <a:prstGeom prst="rect">
            <a:avLst/>
          </a:prstGeom>
        </p:spPr>
      </p:pic>
      <p:pic>
        <p:nvPicPr>
          <p:cNvPr id="53" name="Picture 52">
            <a:extLst>
              <a:ext uri="{FF2B5EF4-FFF2-40B4-BE49-F238E27FC236}">
                <a16:creationId xmlns:a16="http://schemas.microsoft.com/office/drawing/2014/main" id="{A8977BF5-0C5C-45A1-A7C5-4A72B8D34B5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262492">
            <a:off x="4039126" y="-935664"/>
            <a:ext cx="415335" cy="287538"/>
          </a:xfrm>
          <a:prstGeom prst="rect">
            <a:avLst/>
          </a:prstGeom>
        </p:spPr>
      </p:pic>
      <p:pic>
        <p:nvPicPr>
          <p:cNvPr id="54" name="Picture 53">
            <a:extLst>
              <a:ext uri="{FF2B5EF4-FFF2-40B4-BE49-F238E27FC236}">
                <a16:creationId xmlns:a16="http://schemas.microsoft.com/office/drawing/2014/main" id="{C6BD96B2-F963-4F73-82C8-3636295738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477826">
            <a:off x="4376527" y="-571581"/>
            <a:ext cx="340598" cy="235798"/>
          </a:xfrm>
          <a:prstGeom prst="rect">
            <a:avLst/>
          </a:prstGeom>
        </p:spPr>
      </p:pic>
      <p:pic>
        <p:nvPicPr>
          <p:cNvPr id="55" name="Picture 54">
            <a:extLst>
              <a:ext uri="{FF2B5EF4-FFF2-40B4-BE49-F238E27FC236}">
                <a16:creationId xmlns:a16="http://schemas.microsoft.com/office/drawing/2014/main" id="{C6FF204B-FF8C-47D7-81B1-86F186714C5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477826">
            <a:off x="4210428" y="-250554"/>
            <a:ext cx="340598" cy="235798"/>
          </a:xfrm>
          <a:prstGeom prst="rect">
            <a:avLst/>
          </a:prstGeom>
        </p:spPr>
      </p:pic>
      <p:pic>
        <p:nvPicPr>
          <p:cNvPr id="56" name="Picture 55">
            <a:extLst>
              <a:ext uri="{FF2B5EF4-FFF2-40B4-BE49-F238E27FC236}">
                <a16:creationId xmlns:a16="http://schemas.microsoft.com/office/drawing/2014/main" id="{CD7B543D-450B-4264-81B3-3B91DF77DCB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477826">
            <a:off x="3425329" y="-560975"/>
            <a:ext cx="340598" cy="235798"/>
          </a:xfrm>
          <a:prstGeom prst="rect">
            <a:avLst/>
          </a:prstGeom>
        </p:spPr>
      </p:pic>
      <p:pic>
        <p:nvPicPr>
          <p:cNvPr id="57" name="Picture 56">
            <a:extLst>
              <a:ext uri="{FF2B5EF4-FFF2-40B4-BE49-F238E27FC236}">
                <a16:creationId xmlns:a16="http://schemas.microsoft.com/office/drawing/2014/main" id="{72B94343-B60C-449D-8BA5-9350BEE35DB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16423">
            <a:off x="4652931" y="-350332"/>
            <a:ext cx="354741" cy="245589"/>
          </a:xfrm>
          <a:prstGeom prst="rect">
            <a:avLst/>
          </a:prstGeom>
        </p:spPr>
      </p:pic>
      <p:pic>
        <p:nvPicPr>
          <p:cNvPr id="58" name="Picture 57">
            <a:extLst>
              <a:ext uri="{FF2B5EF4-FFF2-40B4-BE49-F238E27FC236}">
                <a16:creationId xmlns:a16="http://schemas.microsoft.com/office/drawing/2014/main" id="{EA457C3C-9CDB-4D3C-B1E3-40BCAD70F29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954080">
            <a:off x="3978672" y="-604875"/>
            <a:ext cx="505832" cy="350190"/>
          </a:xfrm>
          <a:prstGeom prst="rect">
            <a:avLst/>
          </a:prstGeom>
        </p:spPr>
      </p:pic>
      <p:pic>
        <p:nvPicPr>
          <p:cNvPr id="59" name="Picture 58">
            <a:extLst>
              <a:ext uri="{FF2B5EF4-FFF2-40B4-BE49-F238E27FC236}">
                <a16:creationId xmlns:a16="http://schemas.microsoft.com/office/drawing/2014/main" id="{B41C1E92-39CB-411F-AFBA-BA177CC43E0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477826">
            <a:off x="4822160" y="-943394"/>
            <a:ext cx="340598" cy="235798"/>
          </a:xfrm>
          <a:prstGeom prst="rect">
            <a:avLst/>
          </a:prstGeom>
        </p:spPr>
      </p:pic>
      <p:pic>
        <p:nvPicPr>
          <p:cNvPr id="60" name="Picture 59">
            <a:extLst>
              <a:ext uri="{FF2B5EF4-FFF2-40B4-BE49-F238E27FC236}">
                <a16:creationId xmlns:a16="http://schemas.microsoft.com/office/drawing/2014/main" id="{7349E5CF-5A18-4351-8D1E-5EE1FD4FA0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716423">
            <a:off x="4776043" y="-474935"/>
            <a:ext cx="354741" cy="245589"/>
          </a:xfrm>
          <a:prstGeom prst="rect">
            <a:avLst/>
          </a:prstGeom>
        </p:spPr>
      </p:pic>
      <p:pic>
        <p:nvPicPr>
          <p:cNvPr id="61" name="Picture 60">
            <a:extLst>
              <a:ext uri="{FF2B5EF4-FFF2-40B4-BE49-F238E27FC236}">
                <a16:creationId xmlns:a16="http://schemas.microsoft.com/office/drawing/2014/main" id="{DB02E923-4F35-4511-A5CF-0CBFDAE21A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2477826">
            <a:off x="3916541" y="-1159766"/>
            <a:ext cx="340598" cy="235798"/>
          </a:xfrm>
          <a:prstGeom prst="rect">
            <a:avLst/>
          </a:prstGeom>
        </p:spPr>
      </p:pic>
      <p:pic>
        <p:nvPicPr>
          <p:cNvPr id="62" name="Picture 61">
            <a:extLst>
              <a:ext uri="{FF2B5EF4-FFF2-40B4-BE49-F238E27FC236}">
                <a16:creationId xmlns:a16="http://schemas.microsoft.com/office/drawing/2014/main" id="{8A29AD4D-EDD3-435B-AFFE-6CADA223E0E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3392098">
            <a:off x="5172783" y="-446948"/>
            <a:ext cx="505832" cy="350190"/>
          </a:xfrm>
          <a:prstGeom prst="rect">
            <a:avLst/>
          </a:prstGeom>
        </p:spPr>
      </p:pic>
      <p:pic>
        <p:nvPicPr>
          <p:cNvPr id="64" name="Picture 63">
            <a:extLst>
              <a:ext uri="{FF2B5EF4-FFF2-40B4-BE49-F238E27FC236}">
                <a16:creationId xmlns:a16="http://schemas.microsoft.com/office/drawing/2014/main" id="{7707C4A5-B7A2-4E15-B5EC-33D74E50CC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3399569">
            <a:off x="3391740" y="-1288056"/>
            <a:ext cx="748393" cy="476250"/>
          </a:xfrm>
          <a:prstGeom prst="rect">
            <a:avLst/>
          </a:prstGeom>
        </p:spPr>
      </p:pic>
      <p:pic>
        <p:nvPicPr>
          <p:cNvPr id="65" name="Picture 64">
            <a:extLst>
              <a:ext uri="{FF2B5EF4-FFF2-40B4-BE49-F238E27FC236}">
                <a16:creationId xmlns:a16="http://schemas.microsoft.com/office/drawing/2014/main" id="{A16DBA52-BCD9-4215-8F26-988B3E85A2A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3399569">
            <a:off x="4727675" y="-973140"/>
            <a:ext cx="748393" cy="476250"/>
          </a:xfrm>
          <a:prstGeom prst="rect">
            <a:avLst/>
          </a:prstGeom>
        </p:spPr>
      </p:pic>
      <p:pic>
        <p:nvPicPr>
          <p:cNvPr id="66" name="Picture 65">
            <a:extLst>
              <a:ext uri="{FF2B5EF4-FFF2-40B4-BE49-F238E27FC236}">
                <a16:creationId xmlns:a16="http://schemas.microsoft.com/office/drawing/2014/main" id="{E18215CE-1737-4F4D-85F0-ADD11A36851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3399569">
            <a:off x="4664095" y="-736053"/>
            <a:ext cx="748393" cy="476250"/>
          </a:xfrm>
          <a:prstGeom prst="rect">
            <a:avLst/>
          </a:prstGeom>
        </p:spPr>
      </p:pic>
      <p:pic>
        <p:nvPicPr>
          <p:cNvPr id="67" name="Picture 66">
            <a:extLst>
              <a:ext uri="{FF2B5EF4-FFF2-40B4-BE49-F238E27FC236}">
                <a16:creationId xmlns:a16="http://schemas.microsoft.com/office/drawing/2014/main" id="{A8F80969-E835-4B0C-B137-8D2039AC643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3399569">
            <a:off x="4167932" y="-1288055"/>
            <a:ext cx="748393" cy="476250"/>
          </a:xfrm>
          <a:prstGeom prst="rect">
            <a:avLst/>
          </a:prstGeom>
        </p:spPr>
      </p:pic>
    </p:spTree>
    <p:extLst>
      <p:ext uri="{BB962C8B-B14F-4D97-AF65-F5344CB8AC3E}">
        <p14:creationId xmlns:p14="http://schemas.microsoft.com/office/powerpoint/2010/main" val="1609381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fill="hold" nodeType="afterEffect">
                                  <p:stCondLst>
                                    <p:cond delay="0"/>
                                  </p:stCondLst>
                                  <p:childTnLst>
                                    <p:animMotion origin="layout" path="M -0.00312 0.00154 L -0.00312 0.00154 C -0.00486 0.00586 -0.00642 0.01049 -0.00833 0.0145 C -0.01024 0.01851 -0.01302 0.02129 -0.01458 0.02561 L -0.02083 0.04228 C -0.02239 0.04629 -0.02413 0.05031 -0.025 0.05524 C -0.02656 0.06327 -0.02743 0.07222 -0.02812 0.08117 C -0.02864 0.08518 -0.02864 0.08981 -0.02916 0.09413 C -0.02968 0.09784 -0.0309 0.10123 -0.03125 0.10524 C -0.03159 0.10833 -0.03159 0.11142 -0.03229 0.1145 C -0.03385 0.11975 -0.03576 0.12006 -0.03854 0.12191 C -0.03923 0.12376 -0.03993 0.12561 -0.04062 0.12747 C -0.0427 0.13117 -0.04531 0.13395 -0.04687 0.13858 C -0.04965 0.14568 -0.04791 0.14321 -0.05208 0.14598 C -0.05642 0.1574 -0.05173 0.14598 -0.05729 0.15524 C -0.05955 0.15864 -0.06354 0.16635 -0.06354 0.16635 C -0.06389 0.16944 -0.06441 0.17222 -0.06458 0.17561 C -0.0651 0.17901 -0.06527 0.18302 -0.06562 0.18672 C -0.06597 0.18858 -0.06632 0.19043 -0.06666 0.19228 C -0.06632 0.21018 -0.06666 0.22808 -0.06562 0.24598 C -0.06562 0.24845 -0.06423 0.25061 -0.06354 0.25339 C -0.05989 0.26975 -0.06354 0.25926 -0.05937 0.27006 C -0.05868 0.27747 -0.05868 0.28487 -0.05729 0.29228 C -0.05694 0.29413 -0.05659 0.29568 -0.05625 0.29784 C -0.0559 0.30061 -0.0559 0.30401 -0.0552 0.3071 C -0.05486 0.30895 -0.05382 0.3108 -0.05312 0.31265 C -0.0526 0.31666 -0.05104 0.32839 -0.05 0.33117 C -0.0493 0.33302 -0.04843 0.33456 -0.04791 0.33672 C -0.046 0.34413 -0.04583 0.34907 -0.04479 0.3571 C -0.04514 0.37191 -0.04531 0.38672 -0.04583 0.40154 C -0.046 0.40339 -0.0467 0.40493 -0.04687 0.4071 C -0.04739 0.40926 -0.04757 0.41203 -0.04791 0.4145 C -0.04861 0.41697 -0.04948 0.41913 -0.05 0.42191 C -0.05052 0.42345 -0.05086 0.42531 -0.05104 0.42747 C -0.05156 0.42963 -0.05156 0.4324 -0.05208 0.43487 C -0.0526 0.43672 -0.05347 0.43858 -0.05416 0.44043 C -0.05833 0.44907 -0.05607 0.4429 -0.06041 0.44969 C -0.06163 0.45123 -0.06267 0.45308 -0.06354 0.45524 C -0.07187 0.47253 -0.06041 0.44938 -0.06666 0.46635 C -0.06753 0.46851 -0.06875 0.47006 -0.06979 0.47191 C -0.07187 0.47438 -0.07604 0.47932 -0.07604 0.47932 C -0.07639 0.48117 -0.07656 0.48302 -0.07708 0.48487 C -0.07795 0.48703 -0.07934 0.48827 -0.0802 0.49043 C -0.08142 0.49259 -0.08246 0.49506 -0.08333 0.49784 C -0.08489 0.50123 -0.0875 0.50895 -0.0875 0.50895 C -0.09027 0.52839 -0.08663 0.50524 -0.09062 0.52191 C -0.09166 0.52531 -0.0927 0.53302 -0.0927 0.53302 C -0.0934 0.54166 -0.0934 0.55061 -0.09479 0.55895 C -0.09531 0.5608 -0.09687 0.56142 -0.09791 0.56265 C -0.10659 0.57006 -0.09531 0.5574 -0.10416 0.56821 C -0.10451 0.57314 -0.10434 0.57839 -0.1052 0.58302 C -0.10573 0.58487 -0.10746 0.58487 -0.10833 0.58672 C -0.10937 0.58827 -0.10972 0.59043 -0.11041 0.59228 C -0.11145 0.59413 -0.1125 0.59598 -0.11354 0.59784 C -0.11423 0.60154 -0.11441 0.60555 -0.11562 0.60895 C -0.11701 0.61265 -0.11909 0.61574 -0.11979 0.62006 C -0.12014 0.62191 -0.12031 0.62376 -0.12083 0.62561 C -0.1217 0.62808 -0.12309 0.63024 -0.12395 0.63302 C -0.12569 0.63765 -0.12656 0.64321 -0.12812 0.64784 L -0.13229 0.65895 L -0.13437 0.6645 C -0.13507 0.67561 -0.13576 0.68672 -0.13645 0.69784 C -0.1368 0.70154 -0.13784 0.70679 -0.13854 0.7108 C -0.14114 0.74197 -0.13732 0.70339 -0.14375 0.73858 C -0.14635 0.75216 -0.14444 0.74691 -0.14895 0.75524 C -0.1493 0.7571 -0.14948 0.75895 -0.15 0.7608 C -0.15086 0.76296 -0.15277 0.76358 -0.15312 0.76635 C -0.15434 0.77407 -0.15399 0.7821 -0.15416 0.79043 C -0.15468 0.8037 -0.15468 0.81759 -0.1552 0.83117 C -0.15538 0.83302 -0.15607 0.83456 -0.15625 0.83672 C -0.15677 0.83889 -0.15659 0.84166 -0.15729 0.84413 C -0.15868 0.84784 -0.16163 0.85092 -0.16354 0.85339 C -0.16857 0.86635 -0.16718 0.86018 -0.16875 0.87191 C -0.16909 0.89228 -0.16927 0.91265 -0.16979 0.93302 C -0.16996 0.93487 -0.17083 0.93642 -0.17083 0.93858 C -0.17083 0.96018 -0.17048 0.98179 -0.16979 1.00339 C -0.16944 1.01605 -0.16944 1.01327 -0.16458 1.02191 C -0.16354 1.07222 -0.16354 1.0537 -0.16354 1.07747 " pathEditMode="relative" ptsTypes="AAAAAAAAAAAAAAAAAAAAAAAAAAAAAAAAAAAAAAAAAAAAAAAAAAAAAAAAAAAAAAAAAAAAAAAAAAAAAA">
                                      <p:cBhvr>
                                        <p:cTn id="6" dur="10000" fill="hold"/>
                                        <p:tgtEl>
                                          <p:spTgt spid="51"/>
                                        </p:tgtEl>
                                        <p:attrNameLst>
                                          <p:attrName>ppt_x</p:attrName>
                                          <p:attrName>ppt_y</p:attrName>
                                        </p:attrNameLst>
                                      </p:cBhvr>
                                    </p:animMotion>
                                  </p:childTnLst>
                                </p:cTn>
                              </p:par>
                              <p:par>
                                <p:cTn id="7" presetID="0" presetClass="path" presetSubtype="0" fill="hold" nodeType="withEffect">
                                  <p:stCondLst>
                                    <p:cond delay="2500"/>
                                  </p:stCondLst>
                                  <p:childTnLst>
                                    <p:animMotion origin="layout" path="M 0.00052 -0.00617 L 0.00052 -0.00617 C -0.00121 0.00648 -0.00069 0.00895 -0.00364 0.0179 C -0.00503 0.02191 -0.00712 0.025 -0.00781 0.02901 L -0.01094 0.04568 L -0.01198 0.05123 C -0.01233 0.07531 -0.01215 0.09938 -0.01302 0.12346 C -0.01354 0.13426 -0.0151 0.13241 -0.01719 0.14012 C -0.01771 0.14167 -0.01788 0.14383 -0.01823 0.14568 C -0.01788 0.15247 -0.01788 0.15926 -0.01719 0.16605 C -0.01684 0.16975 -0.0158 0.17346 -0.0151 0.17716 C -0.01337 0.18642 -0.01371 0.18704 -0.00781 0.19753 L -0.00052 0.21049 L 0.00261 0.21605 C 0.00538 0.23117 0.00122 0.2071 0.00469 0.24012 C 0.00504 0.24383 0.00608 0.24753 0.00677 0.25123 L 0.00781 0.25679 C 0.00816 0.25864 0.00851 0.26019 0.00886 0.26235 L 0.0099 0.26975 C 0.00816 0.29661 0.0099 0.27809 0.00781 0.29198 C 0.00729 0.29414 0.00747 0.29722 0.00677 0.29938 C 0.00573 0.30185 0.00399 0.30309 0.00261 0.30494 C 0.00052 0.30741 -0.00364 0.31235 -0.00364 0.31235 C -0.00434 0.3142 -0.00538 0.31574 -0.00573 0.3179 C -0.00642 0.32068 -0.00642 0.32407 -0.00677 0.32716 C -0.00712 0.32901 -0.00746 0.33086 -0.00781 0.33272 C -0.00746 0.35123 -0.00746 0.36975 -0.00677 0.38827 C -0.00677 0.39012 -0.00573 0.39167 -0.00573 0.39383 C -0.00573 0.40309 -0.00625 0.41235 -0.00677 0.42161 C -0.00694 0.42407 -0.00712 0.42654 -0.00781 0.42901 C -0.01007 0.4358 -0.01337 0.4358 -0.01719 0.43827 C -0.01823 0.43889 -0.01944 0.43889 -0.02031 0.44012 L -0.02344 0.44383 C -0.0243 0.44815 -0.02465 0.45123 -0.02656 0.45494 C -0.0276 0.45648 -0.02864 0.45741 -0.02969 0.45864 C -0.03003 0.46049 -0.03021 0.46235 -0.03073 0.4642 C -0.0368 0.48302 -0.03368 0.46821 -0.03594 0.48086 C -0.03785 0.51389 -0.03489 0.48951 -0.03906 0.50494 C -0.03958 0.50648 -0.03941 0.50895 -0.0401 0.51049 L -0.04948 0.52161 L -0.0526 0.52531 C -0.05295 0.52778 -0.0533 0.53025 -0.05364 0.53272 C -0.05399 0.53457 -0.05469 0.53611 -0.05469 0.53827 C -0.05538 0.54969 -0.05538 0.56173 -0.05573 0.57346 C -0.05538 0.57963 -0.05555 0.5858 -0.05469 0.59167 C -0.05451 0.59414 -0.05295 0.59506 -0.0526 0.59722 C -0.05243 0.59938 -0.05295 0.60154 -0.05364 0.60278 C -0.05486 0.60525 -0.05642 0.60679 -0.05781 0.60833 C -0.06146 0.61296 -0.06024 0.61173 -0.06406 0.61389 L -0.06614 0.62531 C -0.06649 0.62716 -0.06701 0.6287 -0.06719 0.63086 C -0.06753 0.63333 -0.06736 0.63611 -0.06823 0.63827 C -0.07292 0.64753 -0.07656 0.64599 -0.08281 0.64753 C -0.08489 0.64846 -0.08767 0.64969 -0.08906 0.65309 C -0.08976 0.65432 -0.08958 0.65679 -0.0901 0.65864 C -0.09097 0.6608 -0.09219 0.66235 -0.09323 0.6642 C -0.09392 0.6679 -0.09549 0.6713 -0.09531 0.67531 C -0.0941 0.70432 -0.09496 0.69136 -0.09323 0.7142 C -0.09288 0.72593 -0.09288 0.73765 -0.09219 0.74938 C -0.09219 0.75123 -0.09114 0.75278 -0.09114 0.75494 C -0.09114 0.76173 -0.09167 0.76852 -0.09219 0.77531 C -0.09236 0.77716 -0.09271 0.77932 -0.09323 0.78086 C -0.0941 0.78241 -0.09549 0.78302 -0.09635 0.78457 C -0.09792 0.78611 -0.09913 0.78827 -0.10052 0.79012 C -0.10087 0.79259 -0.10121 0.79506 -0.10156 0.79753 L -0.10469 0.8142 L -0.10573 0.81975 C -0.10608 0.82161 -0.10608 0.82377 -0.10677 0.82531 L -0.10989 0.83086 C -0.11024 0.83272 -0.11042 0.83488 -0.11094 0.83642 C -0.11285 0.84043 -0.11441 0.84568 -0.11719 0.84753 C -0.11823 0.84815 -0.11944 0.84846 -0.12031 0.84938 C -0.1217 0.85031 -0.12708 0.85741 -0.1276 0.85864 C -0.12986 0.86204 -0.13385 0.86975 -0.13385 0.86975 C -0.13594 0.88426 -0.13333 0.86975 -0.13802 0.88457 C -0.13871 0.88611 -0.13871 0.88827 -0.13906 0.89012 C -0.14392 0.91111 -0.14097 0.89599 -0.14323 0.90864 C -0.14288 0.91728 -0.14305 0.92593 -0.14219 0.93457 C -0.14201 0.93673 -0.14097 0.93827 -0.1401 0.94012 C -0.13854 0.94352 -0.13628 0.94722 -0.13385 0.94938 C -0.13299 0.95 -0.13177 0.95062 -0.13073 0.95123 C -0.12864 0.95617 -0.12569 0.95926 -0.12864 0.96605 C -0.12934 0.96728 -0.13073 0.96728 -0.13177 0.9679 C -0.13698 0.97685 -0.13333 0.96944 -0.13698 0.98086 C -0.13767 0.98272 -0.13854 0.98426 -0.13906 0.98642 C -0.13958 0.98796 -0.13976 0.99012 -0.1401 0.99198 C -0.1408 0.99383 -0.14167 0.99537 -0.14219 0.99753 C -0.14271 0.99907 -0.14271 1.00154 -0.14323 1.00278 C -0.14948 1.01636 -0.14878 1.01451 -0.15573 1.01975 C -0.15712 1.02222 -0.15868 1.02438 -0.15989 1.02716 C -0.16076 1.0287 -0.16111 1.03086 -0.16198 1.03272 C -0.16302 1.03426 -0.16406 1.03519 -0.1651 1.03642 C -0.16614 1.03951 -0.16753 1.04228 -0.16823 1.04568 C -0.17014 1.05309 -0.17031 1.05679 -0.17135 1.0642 C -0.1717 1.06605 -0.17205 1.0679 -0.17239 1.06975 C -0.17205 1.08086 -0.17205 1.09198 -0.17135 1.10309 C -0.17135 1.10617 -0.17101 1.10926 -0.17031 1.11235 C -0.16996 1.1142 -0.16892 1.11605 -0.16823 1.1179 C -0.16701 1.1287 -0.16719 1.12377 -0.16719 1.13272 " pathEditMode="relative" ptsTypes="AAAAAAAAAAAAAAAAAAAAAAAAAAAAAAAAAAAAAAAAAAAAAAAAAAAAAAAAAAAAAAAAAAAAAAAAAAAAAAAAAAAAAAAAAAAAAAAAAAA">
                                      <p:cBhvr>
                                        <p:cTn id="8" dur="10500" fill="hold"/>
                                        <p:tgtEl>
                                          <p:spTgt spid="39"/>
                                        </p:tgtEl>
                                        <p:attrNameLst>
                                          <p:attrName>ppt_x</p:attrName>
                                          <p:attrName>ppt_y</p:attrName>
                                        </p:attrNameLst>
                                      </p:cBhvr>
                                    </p:animMotion>
                                  </p:childTnLst>
                                </p:cTn>
                              </p:par>
                              <p:par>
                                <p:cTn id="9" presetID="0" presetClass="path" presetSubtype="0" fill="hold" nodeType="withEffect">
                                  <p:stCondLst>
                                    <p:cond delay="5250"/>
                                  </p:stCondLst>
                                  <p:childTnLst>
                                    <p:animMotion origin="layout" path="M -0.00694 0.02068 L -0.00694 0.02068 C -0.00729 0.02747 -0.00746 0.03457 -0.00798 0.04105 C -0.0085 0.04568 -0.00954 0.04969 -0.01006 0.05401 C -0.01059 0.05679 -0.01076 0.06018 -0.01111 0.06327 C -0.01145 0.08426 -0.01128 0.10525 -0.01215 0.12623 C -0.01232 0.1287 -0.01388 0.13086 -0.01423 0.13364 C -0.01736 0.14938 -0.01319 0.13704 -0.01736 0.14846 C -0.0177 0.15093 -0.01822 0.15309 -0.0184 0.15586 C -0.01892 0.15864 -0.01892 0.16204 -0.01944 0.16512 C -0.01996 0.16759 -0.021 0.16975 -0.02152 0.17253 C -0.02309 0.1787 -0.02204 0.17809 -0.02465 0.18364 C -0.02673 0.18735 -0.0309 0.19475 -0.0309 0.19475 C -0.03125 0.1966 -0.03159 0.19846 -0.03194 0.20031 C -0.03281 0.20278 -0.03645 0.21142 -0.03715 0.21327 C -0.03906 0.22284 -0.03767 0.21697 -0.04236 0.22994 C -0.04305 0.23179 -0.04409 0.23333 -0.04444 0.23549 L -0.04756 0.25216 C -0.04791 0.25401 -0.04843 0.25556 -0.04861 0.25772 C -0.04895 0.26018 -0.04947 0.26235 -0.04965 0.26512 C -0.05017 0.2679 -0.05017 0.2713 -0.05069 0.27438 C -0.05121 0.27623 -0.05208 0.27809 -0.05277 0.27963 C -0.0526 0.28395 -0.05138 0.29938 -0.05069 0.30401 C -0.04878 0.31944 -0.05052 0.2963 -0.04861 0.31852 C -0.04791 0.32839 -0.04739 0.33858 -0.04652 0.34846 C -0.04513 0.36728 -0.04687 0.35309 -0.0434 0.36512 C -0.04305 0.36667 -0.04305 0.36883 -0.04236 0.37068 C -0.04114 0.37438 -0.03819 0.38179 -0.03819 0.38179 C -0.03784 0.38426 -0.03767 0.38673 -0.03715 0.3892 C -0.0342 0.40772 -0.03836 0.3787 -0.03506 0.40216 C -0.03541 0.40895 -0.03541 0.41574 -0.03611 0.42253 C -0.03645 0.42469 -0.03784 0.42593 -0.03819 0.42809 C -0.03923 0.43148 -0.04027 0.4392 -0.04027 0.4392 C -0.04045 0.44197 -0.03975 0.45864 -0.0434 0.46327 C -0.04461 0.46451 -0.04618 0.46451 -0.04756 0.46512 C -0.04861 0.46697 -0.04965 0.46883 -0.05069 0.47068 C -0.05173 0.47191 -0.05329 0.47222 -0.05381 0.47438 C -0.05503 0.47747 -0.0552 0.48179 -0.0559 0.48549 C -0.0592 0.50216 -0.05434 0.47562 -0.05798 0.50031 C -0.05954 0.51018 -0.05989 0.51049 -0.06215 0.51883 C -0.0618 0.52562 -0.06232 0.53241 -0.06111 0.53889 C -0.06041 0.54321 -0.05781 0.54599 -0.05694 0.55031 C -0.05555 0.55833 -0.0559 0.55556 -0.05486 0.56697 C -0.05451 0.5716 -0.05434 0.57685 -0.05381 0.58179 C -0.05329 0.58673 -0.05173 0.5963 -0.05173 0.5963 C -0.05243 0.6037 -0.05243 0.61173 -0.05381 0.61883 C -0.05434 0.62037 -0.05607 0.61944 -0.05694 0.62068 C -0.0585 0.62191 -0.05972 0.62438 -0.06111 0.62623 L -0.07048 0.63735 C -0.07152 0.63858 -0.07256 0.64012 -0.07361 0.64105 C -0.07465 0.64136 -0.07586 0.64167 -0.07673 0.64259 C -0.07899 0.64506 -0.0809 0.64753 -0.08298 0.65031 C -0.08402 0.65154 -0.08489 0.65339 -0.08611 0.65401 L -0.09027 0.65586 C -0.0934 0.65957 -0.09444 0.65926 -0.09548 0.66697 C -0.09618 0.6716 -0.096 0.67685 -0.09652 0.68179 C -0.09687 0.68364 -0.09704 0.68549 -0.09756 0.68735 C -0.09878 0.69012 -0.10034 0.69228 -0.10173 0.69475 C -0.10208 0.6966 -0.10225 0.69846 -0.10277 0.70031 C -0.10364 0.70247 -0.10555 0.70309 -0.1059 0.70586 C -0.10642 0.70864 -0.1052 0.71173 -0.10486 0.71512 C -0.10451 0.71975 -0.10434 0.725 -0.10381 0.72994 C -0.10364 0.73179 -0.10364 0.73395 -0.10277 0.73549 C -0.10104 0.73858 -0.09652 0.7429 -0.09652 0.7429 C -0.09618 0.7466 -0.09531 0.75 -0.09548 0.75401 C -0.09566 0.75617 -0.0967 0.75802 -0.09756 0.75957 C -0.09843 0.76049 -0.09965 0.7608 -0.10069 0.76142 C -0.10416 0.76296 -0.10659 0.76358 -0.11006 0.76512 C -0.11163 0.84167 -0.11006 0.79506 -0.11215 0.83735 C -0.11267 0.84444 -0.11267 0.85216 -0.11319 0.85957 C -0.11371 0.86512 -0.11562 0.87562 -0.1184 0.87809 C -0.11979 0.87932 -0.12135 0.88025 -0.12256 0.88179 C -0.12482 0.88395 -0.12656 0.88765 -0.12881 0.8892 C -0.13316 0.89167 -0.13107 0.88981 -0.13506 0.89475 C -0.13541 0.89784 -0.13611 0.90062 -0.13611 0.90401 C -0.13611 0.92901 -0.13559 0.93549 -0.13402 0.95586 C -0.13437 0.97068 -0.13454 0.98549 -0.13506 1.00031 C -0.13541 1.0071 -0.13871 1.0108 -0.14236 1.01327 C -0.1434 1.01389 -0.14461 1.0142 -0.14548 1.01512 C -0.1467 1.01605 -0.14756 1.01759 -0.14861 1.01883 C -0.14895 1.02068 -0.1493 1.02253 -0.14965 1.02438 C -0.15034 1.02685 -0.15173 1.02901 -0.15173 1.03179 C -0.1526 1.06204 -0.15381 1.05679 -0.14861 1.07068 C -0.14739 1.07932 -0.14843 1.07839 -0.1434 1.08364 C -0.14253 1.08457 -0.14027 1.08549 -0.14027 1.08549 " pathEditMode="relative" ptsTypes="AAAAAAAAAAAAAAAAAAAAAAAAAAAAAAAAAAAAAAAAAAAAAAAAAAAAAAAAAAAAAAAAAAAAAAAAAAAAAAAAAAAAA">
                                      <p:cBhvr>
                                        <p:cTn id="10" dur="10750" fill="hold"/>
                                        <p:tgtEl>
                                          <p:spTgt spid="45"/>
                                        </p:tgtEl>
                                        <p:attrNameLst>
                                          <p:attrName>ppt_x</p:attrName>
                                          <p:attrName>ppt_y</p:attrName>
                                        </p:attrNameLst>
                                      </p:cBhvr>
                                    </p:animMotion>
                                  </p:childTnLst>
                                </p:cTn>
                              </p:par>
                              <p:par>
                                <p:cTn id="11" presetID="0" presetClass="path" presetSubtype="0" fill="hold" nodeType="withEffect">
                                  <p:stCondLst>
                                    <p:cond delay="1000"/>
                                  </p:stCondLst>
                                  <p:childTnLst>
                                    <p:animMotion origin="layout" path="M -0.00365 0.00525 L -0.00365 0.00525 C -0.00434 0.01081 -0.00451 0.01667 -0.00573 0.02192 C -0.00642 0.02439 -0.00816 0.02562 -0.00885 0.02747 C -0.0099 0.02963 -0.01024 0.03241 -0.01094 0.03488 C -0.01632 0.05062 -0.01406 0.04013 -0.01615 0.05155 C -0.0158 0.06204 -0.01597 0.07253 -0.0151 0.08272 C -0.01493 0.08673 -0.01354 0.09013 -0.01302 0.09414 C -0.0125 0.09939 -0.01215 0.10371 -0.01094 0.10895 C -0.01042 0.11142 -0.00955 0.11358 -0.00885 0.11636 C -0.00851 0.11852 -0.00833 0.1213 -0.00781 0.12377 C -0.00729 0.12747 -0.00642 0.13118 -0.00573 0.13488 C -0.00538 0.13673 -0.00504 0.13827 -0.00469 0.14043 C -0.00434 0.1426 -0.00417 0.14537 -0.00365 0.14784 C -0.00208 0.15587 -0.00174 0.15371 0.00052 0.1605 C 0.00121 0.16297 0.00139 0.16605 0.0026 0.16821 C 0.0033 0.16945 0.00469 0.16945 0.00573 0.17006 C 0.01128 0.18488 0.00399 0.16698 0.01094 0.17932 C 0.0118 0.18087 0.01233 0.18303 0.01302 0.18488 C 0.01267 0.20093 0.0125 0.21698 0.01198 0.23303 C 0.0118 0.23673 0.01111 0.24661 0.0099 0.25155 C 0.0092 0.2534 0.00868 0.25556 0.00781 0.2571 C 0.00694 0.25803 0.00573 0.25834 0.00469 0.25895 C 0.00399 0.26081 0.00347 0.26266 0.0026 0.26451 C 8.33333E-7 0.26883 -0.0007 0.2676 -0.00365 0.27006 C -0.01267 0.27685 -0.00365 0.27099 -0.01094 0.27562 C -0.01493 0.28581 -0.01406 0.28179 -0.01406 0.30155 C -0.01406 0.30587 -0.01406 0.31019 -0.01302 0.31451 C -0.0125 0.31667 -0.01094 0.3179 -0.0099 0.32006 C -0.00278 0.3355 -0.01389 0.31482 -0.00469 0.33118 C -0.00504 0.33364 -0.00521 0.33611 -0.00573 0.33858 C -0.00747 0.34445 -0.01024 0.35062 -0.01302 0.35525 C -0.01406 0.35648 -0.0151 0.35772 -0.01615 0.35895 C -0.01684 0.36081 -0.01736 0.36297 -0.01823 0.36451 C -0.0191 0.36543 -0.02049 0.36513 -0.02135 0.36636 C -0.02292 0.3676 -0.02413 0.37006 -0.02552 0.37192 C -0.0276 0.37439 -0.03177 0.37932 -0.03177 0.37932 C -0.03212 0.38118 -0.03264 0.38272 -0.03281 0.38488 C -0.0342 0.3926 -0.03524 0.40371 -0.03594 0.41081 C -0.03663 0.41698 -0.0375 0.42284 -0.03802 0.42932 C -0.04045 0.45371 -0.03785 0.44506 -0.04219 0.4571 C -0.04427 0.47747 -0.04167 0.4605 -0.04531 0.47377 C -0.0474 0.48087 -0.04549 0.4784 -0.0474 0.48673 C -0.04792 0.48858 -0.04879 0.49043 -0.04948 0.49229 C -0.05035 0.50124 -0.04983 0.50556 -0.0526 0.51266 C -0.05347 0.51451 -0.05469 0.51636 -0.05573 0.51821 C -0.05642 0.52315 -0.05556 0.52994 -0.05781 0.53303 C -0.06441 0.54074 -0.05729 0.53241 -0.0651 0.54043 C -0.06701 0.54198 -0.06875 0.54383 -0.07031 0.54599 C -0.07153 0.54692 -0.0724 0.54846 -0.07344 0.54969 C -0.07448 0.55031 -0.0757 0.55062 -0.07656 0.55155 C -0.07778 0.55247 -0.07882 0.55371 -0.07969 0.55525 C -0.08195 0.55864 -0.08333 0.56389 -0.08594 0.56636 C -0.08733 0.5676 -0.08889 0.56821 -0.0901 0.56976 C -0.09132 0.5713 -0.09219 0.57377 -0.09323 0.57562 C -0.09427 0.57685 -0.09531 0.57809 -0.09635 0.57932 C -0.0967 0.58179 -0.09722 0.58395 -0.0974 0.58673 C -0.09792 0.58951 -0.09757 0.59321 -0.09844 0.59599 C -0.10156 0.60463 -0.10399 0.60587 -0.10781 0.61081 C -0.10938 0.61235 -0.11059 0.61482 -0.11198 0.61636 C -0.11302 0.61729 -0.11424 0.61729 -0.1151 0.61821 C -0.12326 0.62531 -0.11354 0.61883 -0.12135 0.62377 C -0.1224 0.62562 -0.12326 0.62778 -0.12448 0.62932 C -0.12656 0.63118 -0.12899 0.63056 -0.13073 0.63303 L -0.13385 0.63673 C -0.13455 0.64167 -0.13559 0.6463 -0.13594 0.65155 C -0.13629 0.65525 -0.13646 0.65895 -0.13698 0.66266 C -0.13785 0.66636 -0.13924 0.66976 -0.1401 0.67377 C -0.14063 0.67531 -0.14063 0.67747 -0.14115 0.67932 C -0.1441 0.68735 -0.14635 0.69013 -0.15052 0.69599 C -0.15156 0.69722 -0.1526 0.69846 -0.15365 0.69969 C -0.15538 0.70093 -0.15955 0.70247 -0.16094 0.7034 C -0.16215 0.70371 -0.1632 0.70432 -0.16406 0.70525 C -0.16528 0.70618 -0.16615 0.70772 -0.16719 0.70895 C -0.17292 0.72871 -0.16858 0.71081 -0.17135 0.73118 C -0.17205 0.73488 -0.17344 0.74229 -0.17344 0.74229 C -0.17309 0.76698 -0.1724 0.79136 -0.1724 0.81636 C -0.1724 0.825 -0.17274 0.83364 -0.17344 0.84229 C -0.17379 0.84445 -0.17448 0.84661 -0.17552 0.84784 C -0.17743 0.84969 -0.17986 0.84969 -0.18177 0.85155 C -0.18299 0.85216 -0.18385 0.85432 -0.1849 0.85525 C -0.20816 0.87346 -0.1783 0.84722 -0.19531 0.86266 C -0.19601 0.86513 -0.1974 0.86729 -0.1974 0.87006 C -0.19792 0.88241 -0.19635 0.89784 -0.19531 0.91081 C -0.19531 0.91574 -0.19306 0.95216 -0.19531 0.96266 C -0.19601 0.96543 -0.19792 0.96729 -0.19948 0.96821 C -0.2026 0.96976 -0.20573 0.96945 -0.20885 0.97006 C -0.20816 0.97192 -0.20729 0.97346 -0.20677 0.97562 C -0.2059 0.97902 -0.20573 0.98303 -0.20469 0.98673 L -0.2026 0.99414 C -0.20226 0.99908 -0.20226 1.00402 -0.20156 1.00895 C -0.20122 1.01142 -0.20017 1.01358 -0.19948 1.01636 C -0.19913 1.01852 -0.19879 1.0213 -0.19844 1.02377 C -0.19879 1.02562 -0.19913 1.02747 -0.19948 1.02932 C -0.20017 1.03241 -0.20156 1.03519 -0.20156 1.03858 C -0.20313 1.06852 -0.2007 1.04013 -0.19844 1.0571 C -0.19809 1.0605 -0.19844 1.06451 -0.19844 1.06821 " pathEditMode="relative" ptsTypes="AAAAAAAAAAAAAAAAAAAAAAAAAAAAAAAAAAAAAAAAAAAAAAAAAAAAAAAAAAAAAAAAAAAAAAAAAAAAAAAAAAAAAAAAAAAAAAAAA">
                                      <p:cBhvr>
                                        <p:cTn id="12" dur="11000" fill="hold"/>
                                        <p:tgtEl>
                                          <p:spTgt spid="52"/>
                                        </p:tgtEl>
                                        <p:attrNameLst>
                                          <p:attrName>ppt_x</p:attrName>
                                          <p:attrName>ppt_y</p:attrName>
                                        </p:attrNameLst>
                                      </p:cBhvr>
                                    </p:animMotion>
                                  </p:childTnLst>
                                </p:cTn>
                              </p:par>
                              <p:par>
                                <p:cTn id="13" presetID="0" presetClass="path" presetSubtype="0" fill="hold" nodeType="withEffect">
                                  <p:stCondLst>
                                    <p:cond delay="0"/>
                                  </p:stCondLst>
                                  <p:childTnLst>
                                    <p:animMotion origin="layout" path="M 0.0033 -0.00031 L 0.0033 -0.00031 C 0.00052 0.00402 -0.00208 0.00895 -0.00503 0.01266 C -0.00989 0.01914 -0.00885 0.01327 -0.01232 0.02192 C -0.01406 0.02593 -0.0151 0.03056 -0.01649 0.03488 C -0.01979 0.04352 -0.01927 0.03982 -0.0217 0.04784 C -0.02257 0.05 -0.02309 0.05278 -0.02378 0.05525 C -0.02326 0.07253 -0.02378 0.08148 -0.0217 0.09599 C -0.02152 0.09784 -0.021 0.09969 -0.02066 0.10155 C -0.021 0.10525 -0.02118 0.10895 -0.0217 0.11266 C -0.02222 0.11451 -0.02326 0.11605 -0.02378 0.11821 C -0.02465 0.12068 -0.02569 0.12871 -0.02586 0.13118 C -0.0243 0.1679 -0.02691 0.14229 -0.02274 0.16081 C -0.02205 0.1642 -0.02135 0.16821 -0.02066 0.17192 L -0.01961 0.17747 L -0.01857 0.18303 C -0.01892 0.1855 -0.01909 0.18797 -0.01961 0.19043 C -0.02083 0.19414 -0.02378 0.20155 -0.02378 0.20155 C -0.02326 0.21976 -0.0217 0.24722 -0.02378 0.26636 C -0.02413 0.26914 -0.02586 0.2713 -0.02691 0.27377 C -0.02899 0.27747 -0.03159 0.28025 -0.03316 0.28488 C -0.03385 0.28673 -0.03472 0.28827 -0.03524 0.29043 C -0.03611 0.2926 -0.03646 0.29537 -0.03732 0.29753 C -0.03889 0.30124 -0.04149 0.30463 -0.04357 0.3071 C -0.04496 0.30834 -0.04635 0.30957 -0.04774 0.31081 C -0.04878 0.31142 -0.05 0.31142 -0.05086 0.31266 C -0.05312 0.31482 -0.05711 0.32006 -0.05711 0.32006 C -0.06406 0.34445 -0.05573 0.31389 -0.06024 0.33303 C -0.06093 0.3355 -0.0618 0.33766 -0.06232 0.34043 C -0.06284 0.34198 -0.06302 0.34414 -0.06336 0.34599 C -0.06406 0.34784 -0.0651 0.34939 -0.06545 0.35155 C -0.06649 0.35494 -0.06684 0.35895 -0.06753 0.36266 C -0.06788 0.36451 -0.06771 0.36698 -0.06857 0.36821 C -0.07066 0.37068 -0.07257 0.37439 -0.07482 0.37562 C -0.07899 0.37716 -0.08107 0.37809 -0.08524 0.38118 C -0.09149 0.3855 -0.08871 0.38364 -0.09357 0.38673 C -0.09635 0.40062 -0.09271 0.38334 -0.0967 0.39784 C -0.09722 0.39939 -0.09705 0.40185 -0.09774 0.4034 C -0.10764 0.42068 -0.10017 0.40216 -0.11024 0.41451 L -0.11649 0.42192 C -0.12205 0.43673 -0.11475 0.41883 -0.1217 0.43118 C -0.12517 0.43704 -0.12274 0.4355 -0.12482 0.44229 C -0.1309 0.46111 -0.12777 0.4463 -0.13003 0.45895 C -0.12743 0.49167 -0.13055 0.45741 -0.12795 0.47932 C -0.12552 0.50185 -0.1283 0.48056 -0.12586 0.49784 C -0.12621 0.50093 -0.12621 0.50402 -0.12691 0.5071 C -0.12812 0.51111 -0.13142 0.51667 -0.13316 0.52006 C -0.13663 0.53827 -0.1309 0.51019 -0.13732 0.53118 C -0.13854 0.53457 -0.13941 0.54229 -0.13941 0.54229 C -0.13906 0.55155 -0.13889 0.56081 -0.13836 0.57006 C -0.13784 0.58519 -0.13611 0.59692 -0.13836 0.61266 C -0.13889 0.61513 -0.14357 0.61729 -0.14461 0.61821 C -0.15451 0.6355 -0.13871 0.60926 -0.15399 0.62747 C -0.15503 0.62871 -0.15607 0.62994 -0.15711 0.63118 C -0.15885 0.63241 -0.16076 0.63334 -0.16232 0.63488 C -0.16389 0.63581 -0.1651 0.63735 -0.16649 0.63858 C -0.16649 0.64043 -0.16527 0.65741 -0.16441 0.66081 C -0.16406 0.66266 -0.16302 0.66451 -0.16232 0.66636 C -0.16284 0.68642 -0.15816 0.70185 -0.16649 0.71266 C -0.16788 0.7142 -0.16927 0.71513 -0.17066 0.71636 C -0.16996 0.72871 -0.17083 0.74136 -0.16857 0.7534 L -0.16649 0.76451 C -0.16718 0.76821 -0.16718 0.77284 -0.16857 0.77562 C -0.16996 0.77778 -0.17222 0.77624 -0.17378 0.77747 C -0.175 0.77809 -0.17586 0.77994 -0.17691 0.78118 C -0.1783 0.79445 -0.17639 0.79043 -0.18211 0.79784 C -0.1842 0.80031 -0.18836 0.80525 -0.18836 0.80525 C -0.18871 0.8071 -0.18923 0.80864 -0.18941 0.81081 C -0.18993 0.8142 -0.18993 0.81821 -0.19045 0.82192 C -0.19097 0.82439 -0.19184 0.82685 -0.19253 0.82932 C -0.19271 0.82932 -0.19444 0.84846 -0.19461 0.84969 C -0.19531 0.85155 -0.1967 0.85216 -0.19774 0.8534 L -0.19982 0.86451 L -0.20086 0.87006 C -0.20034 0.87716 -0.2 0.88642 -0.1967 0.89229 C -0.19583 0.89383 -0.19461 0.89476 -0.19357 0.89599 C -0.19149 0.91513 -0.19409 0.89599 -0.19045 0.91266 C -0.18941 0.9179 -0.18732 0.92932 -0.18732 0.92932 C -0.18698 0.9355 -0.18715 0.94167 -0.18628 0.94784 C -0.18611 0.95031 -0.18472 0.95247 -0.1842 0.95525 C -0.18368 0.95864 -0.1835 0.96266 -0.18316 0.96636 C -0.18489 0.975 -0.18472 0.97963 -0.18941 0.98488 C -0.19132 0.98673 -0.19357 0.98735 -0.19566 0.98858 L -0.19878 0.99043 C -0.20121 1.00278 -0.20017 0.99445 -0.19878 1.01821 C -0.19809 1.03303 -0.19896 1.03179 -0.19566 1.04229 C -0.19514 1.04414 -0.19461 1.0463 -0.19357 1.04784 C -0.19288 1.04877 -0.19149 1.04908 -0.19045 1.04969 L -0.18836 1.06081 " pathEditMode="relative" ptsTypes="AAAAAAAAAAAAAAAAAAAAAAAAAAAAAAAAAAAAAAAAAAAAAAAAAAAAAAAAAAAAAAAAAAAAAAAAAAAAAAAAAAAAAAAAA">
                                      <p:cBhvr>
                                        <p:cTn id="14" dur="10500" fill="hold"/>
                                        <p:tgtEl>
                                          <p:spTgt spid="55"/>
                                        </p:tgtEl>
                                        <p:attrNameLst>
                                          <p:attrName>ppt_x</p:attrName>
                                          <p:attrName>ppt_y</p:attrName>
                                        </p:attrNameLst>
                                      </p:cBhvr>
                                    </p:animMotion>
                                  </p:childTnLst>
                                </p:cTn>
                              </p:par>
                              <p:par>
                                <p:cTn id="15" presetID="0" presetClass="path" presetSubtype="0" fill="hold" nodeType="withEffect">
                                  <p:stCondLst>
                                    <p:cond delay="2500"/>
                                  </p:stCondLst>
                                  <p:childTnLst>
                                    <p:animMotion origin="layout" path="M -0.00156 -0.00463 L -0.00156 -0.00463 C -0.00365 -0.00031 -0.00608 0.00401 -0.00781 0.00833 C -0.00955 0.01234 -0.01024 0.01697 -0.01094 0.0213 C -0.01059 0.025 -0.01076 0.02901 -0.0099 0.03241 C -0.00938 0.03549 -0.00781 0.03734 -0.00677 0.03981 C -0.00608 0.04228 -0.00538 0.04475 -0.00469 0.04722 C -0.0033 0.05309 -0.0033 0.05741 -0.0026 0.06389 C -0.00295 0.06574 -0.00295 0.06821 -0.00365 0.06944 C -0.00556 0.07284 -0.00781 0.07438 -0.0099 0.07685 C -0.01094 0.07809 -0.01198 0.07994 -0.01302 0.08055 C -0.01736 0.08333 -0.01528 0.08148 -0.01927 0.08611 C -0.01997 0.08796 -0.02135 0.0892 -0.02135 0.09167 C -0.0217 0.09475 -0.02083 0.09784 -0.02031 0.10092 C -0.01979 0.10463 -0.01788 0.11265 -0.01719 0.11574 C -0.01684 0.12006 -0.01667 0.12438 -0.01615 0.1287 C -0.01563 0.13488 -0.01563 0.13889 -0.01302 0.14321 C -0.01215 0.14506 -0.01094 0.14599 -0.0099 0.14691 C -0.00625 0.1571 -0.00851 0.14815 -0.00885 0.15833 C -0.0099 0.17654 -0.00764 0.19599 -0.01094 0.21389 C -0.01129 0.21574 -0.01146 0.2179 -0.01198 0.21944 C -0.01285 0.22099 -0.01406 0.22191 -0.0151 0.22315 C -0.02205 0.24105 -0.01129 0.21296 -0.02031 0.23611 C -0.02188 0.23951 -0.02448 0.24722 -0.02448 0.24722 C -0.02483 0.24969 -0.02552 0.25185 -0.02552 0.25463 C -0.02552 0.26111 -0.02552 0.27284 -0.02344 0.28055 C -0.02222 0.28549 -0.01927 0.29537 -0.01927 0.29537 C -0.01892 0.29876 -0.01875 0.30278 -0.01823 0.30617 C -0.01806 0.30833 -0.01754 0.30988 -0.01719 0.31204 C -0.01458 0.32809 -0.01771 0.31142 -0.0151 0.325 C -0.01545 0.32809 -0.01528 0.33148 -0.01615 0.33426 C -0.01684 0.33611 -0.0184 0.33642 -0.01927 0.33796 C -0.02153 0.34136 -0.02396 0.34444 -0.02552 0.34907 C -0.02847 0.35679 -0.02674 0.35278 -0.03073 0.36018 C -0.03542 0.38426 -0.03438 0.37716 -0.03073 0.4287 C -0.03056 0.43302 -0.02795 0.43611 -0.02656 0.43981 L -0.02448 0.44537 C -0.02413 0.44784 -0.02431 0.45031 -0.02344 0.45278 C -0.02274 0.45494 -0.02135 0.45617 -0.02031 0.45833 C -0.01962 0.45988 -0.0191 0.46204 -0.01823 0.46389 C -0.01302 0.475 -0.01701 0.46296 -0.01302 0.47685 C -0.01337 0.47994 -0.01302 0.48333 -0.01406 0.48611 C -0.01563 0.48951 -0.02031 0.49352 -0.02031 0.49352 C -0.01997 0.50092 -0.02014 0.50833 -0.01927 0.51574 C -0.01892 0.51975 -0.01632 0.525 -0.0151 0.5287 C -0.0099 0.54506 -0.01615 0.52809 -0.01094 0.54167 C -0.01129 0.54475 -0.01111 0.54815 -0.01198 0.55092 C -0.01372 0.55525 -0.01615 0.55833 -0.01823 0.56204 C -0.02014 0.56512 -0.02205 0.56913 -0.02448 0.5713 C -0.02587 0.57222 -0.02726 0.57253 -0.02865 0.57284 L -0.0349 0.58055 C -0.03767 0.58364 -0.0382 0.58488 -0.04115 0.58611 C -0.04358 0.58673 -0.04601 0.58734 -0.04844 0.58765 C -0.05642 0.59259 -0.04826 0.58827 -0.0651 0.59167 C -0.06892 0.59228 -0.07031 0.59321 -0.07344 0.59537 C -0.07413 0.59784 -0.07483 0.60031 -0.07552 0.60247 C -0.07622 0.60463 -0.07726 0.60617 -0.0776 0.60833 C -0.07865 0.61173 -0.07899 0.61543 -0.07969 0.61944 C -0.08004 0.6213 -0.08056 0.62284 -0.08073 0.625 C -0.08108 0.6287 -0.0809 0.63271 -0.08177 0.63611 C -0.08247 0.63796 -0.08385 0.63858 -0.0849 0.63981 C -0.08594 0.64043 -0.08715 0.64074 -0.08802 0.64167 C -0.09618 0.64876 -0.08646 0.64228 -0.09427 0.64722 C -0.09462 0.64969 -0.09445 0.65247 -0.09531 0.65463 C -0.09635 0.65648 -0.10104 0.65895 -0.1026 0.66018 C -0.10295 0.66204 -0.1033 0.66389 -0.10365 0.66574 C -0.10434 0.66821 -0.10538 0.67037 -0.10573 0.67315 C -0.10642 0.67716 -0.10642 0.68179 -0.10677 0.68611 C -0.10642 0.69228 -0.10573 0.69815 -0.10573 0.70463 C -0.10573 0.71883 -0.10382 0.7287 -0.1099 0.73611 C -0.11094 0.73704 -0.11198 0.73734 -0.11302 0.73796 C -0.11372 0.73981 -0.1151 0.74105 -0.1151 0.74352 C -0.11597 0.75833 -0.11406 0.75648 -0.11094 0.76759 C -0.11024 0.77037 -0.1099 0.77376 -0.10885 0.77685 C -0.10816 0.77901 -0.10677 0.78025 -0.10573 0.78241 C -0.10365 0.78704 -0.10382 0.78765 -0.1026 0.79352 C -0.10295 0.80463 -0.10278 0.81574 -0.10365 0.82685 C -0.10399 0.82901 -0.10556 0.83025 -0.10573 0.83241 C -0.1066 0.83704 -0.10642 0.84228 -0.10677 0.84722 C -0.10712 0.84969 -0.10712 0.85247 -0.10781 0.85463 C -0.10851 0.85648 -0.11007 0.85679 -0.11094 0.85833 C -0.11215 0.85988 -0.11302 0.86234 -0.11406 0.86389 C -0.11545 0.86543 -0.11701 0.86605 -0.11823 0.86759 C -0.11945 0.86852 -0.12031 0.87006 -0.12135 0.87099 C -0.12379 0.88796 -0.12135 0.86728 -0.12135 0.89167 C -0.12135 0.92963 -0.11719 0.94074 -0.12448 0.96389 C -0.12517 0.96574 -0.12587 0.96759 -0.12656 0.96944 C -0.12691 0.97191 -0.12708 0.97438 -0.1276 0.97685 C -0.12847 0.97994 -0.13056 0.98241 -0.13073 0.98611 C -0.13195 1.0071 -0.125 1.03889 -0.13385 1.05833 C -0.1349 1.06018 -0.13594 1.06204 -0.13698 1.06389 C -0.13733 1.06574 -0.13802 1.06728 -0.13802 1.06944 C -0.13802 1.07963 -0.13767 1.08364 -0.1349 1.09167 C -0.13368 1.09537 -0.1316 1.09846 -0.13073 1.10278 L -0.12865 1.11358 C -0.1276 1.1321 -0.1276 1.12469 -0.1276 1.13611 " pathEditMode="relative" ptsTypes="AAAAAAAAAAAAAAAAAAAAAAAAAAAAAAAAAAAAAAAAAAAAAAAAAAAAAAAAAAAAAAAAAAAAAAAAAAAAAAAAAAAAAAAAAAAAAAAA">
                                      <p:cBhvr>
                                        <p:cTn id="16" dur="11250" fill="hold"/>
                                        <p:tgtEl>
                                          <p:spTgt spid="56"/>
                                        </p:tgtEl>
                                        <p:attrNameLst>
                                          <p:attrName>ppt_x</p:attrName>
                                          <p:attrName>ppt_y</p:attrName>
                                        </p:attrNameLst>
                                      </p:cBhvr>
                                    </p:animMotion>
                                  </p:childTnLst>
                                </p:cTn>
                              </p:par>
                              <p:par>
                                <p:cTn id="17" presetID="0" presetClass="path" presetSubtype="0" fill="hold" nodeType="withEffect">
                                  <p:stCondLst>
                                    <p:cond delay="3000"/>
                                  </p:stCondLst>
                                  <p:childTnLst>
                                    <p:animMotion origin="layout" path="M -0.00277 -0.00988 L -0.00277 -0.00988 C -0.0052 -0.00432 -0.00816 0.00092 -0.01006 0.00679 C -0.01302 0.01512 -0.01441 0.02469 -0.01736 0.03271 C -0.01805 0.03456 -0.01875 0.03672 -0.01944 0.03827 C -0.02048 0.04043 -0.02187 0.04166 -0.02256 0.04382 C -0.02395 0.04753 -0.02465 0.05154 -0.02569 0.05493 C -0.02673 0.05833 -0.02777 0.06111 -0.02881 0.06419 C -0.02899 0.06574 -0.02482 0.10679 -0.03194 0.11975 C -0.03298 0.12129 -0.0342 0.12191 -0.03506 0.12345 C -0.03767 0.12747 -0.03993 0.13209 -0.04236 0.13642 L -0.04548 0.14197 L -0.04861 0.14753 C -0.05208 0.16543 -0.05017 0.15339 -0.04861 0.19382 C -0.04861 0.19598 -0.04756 0.21018 -0.04652 0.21419 C -0.04618 0.21605 -0.04513 0.2179 -0.04444 0.21975 C -0.04409 0.22284 -0.0434 0.22561 -0.0434 0.22901 C -0.0434 0.23703 -0.04357 0.24321 -0.04756 0.24753 C -0.04895 0.24876 -0.05034 0.24876 -0.05173 0.24938 C -0.05416 0.25185 -0.05642 0.25432 -0.05798 0.25864 C -0.05868 0.26018 -0.05868 0.26234 -0.05902 0.26419 C -0.05868 0.27777 -0.05868 0.29135 -0.05798 0.30493 C -0.05711 0.32685 -0.05208 0.28889 -0.05798 0.34012 C -0.0585 0.3429 -0.06006 0.34506 -0.06111 0.34753 C -0.06076 0.35493 -0.06093 0.36234 -0.06006 0.36975 C -0.05989 0.37191 -0.05868 0.37314 -0.05798 0.3753 C -0.05763 0.37685 -0.05746 0.37901 -0.05694 0.38086 C -0.05642 0.38271 -0.05555 0.38426 -0.05486 0.38642 C -0.05069 0.40154 -0.05781 0.38148 -0.05173 0.39753 C -0.04878 0.41944 -0.05347 0.38456 -0.04965 0.4179 C -0.04878 0.42561 -0.04861 0.4216 -0.04652 0.42901 C -0.04618 0.43055 -0.04583 0.43271 -0.04548 0.43456 C -0.04635 0.45617 -0.04322 0.45617 -0.04965 0.46605 C -0.05295 0.47068 -0.05451 0.47068 -0.05902 0.47345 L -0.06215 0.4753 C -0.06354 0.47716 -0.06493 0.47932 -0.06631 0.48086 C -0.07274 0.48642 -0.07118 0.47623 -0.07881 0.49012 C -0.07986 0.49197 -0.0809 0.49413 -0.08194 0.49568 C -0.0842 0.49845 -0.0868 0.49969 -0.08923 0.50123 L -0.09548 0.51234 C -0.09809 0.51666 -0.09965 0.52006 -0.10277 0.52345 C -0.10381 0.52438 -0.10503 0.52438 -0.1059 0.5253 C -0.11319 0.53148 -0.10451 0.52685 -0.11319 0.53086 C -0.11562 0.55092 -0.11267 0.52993 -0.11631 0.54753 C -0.11684 0.54969 -0.11718 0.55216 -0.11736 0.55493 C -0.11788 0.55771 -0.11788 0.56111 -0.1184 0.56419 C -0.11892 0.56605 -0.11979 0.5679 -0.12048 0.56975 C -0.12083 0.57407 -0.12135 0.57808 -0.12152 0.58271 C -0.12204 0.58981 -0.12118 0.59784 -0.12256 0.60493 C -0.12309 0.60709 -0.12552 0.60586 -0.12673 0.60679 C -0.13402 0.61018 -0.12517 0.60617 -0.13402 0.61234 C -0.13541 0.61296 -0.1368 0.61358 -0.13819 0.61419 C -0.14114 0.61728 -0.14218 0.61913 -0.14548 0.6216 C -0.15 0.62469 -0.15173 0.62376 -0.15486 0.62901 C -0.15711 0.6324 -0.15868 0.63703 -0.16111 0.64012 L -0.16736 0.64753 C -0.16527 0.69938 -0.1684 0.68148 -0.16423 0.70308 C -0.16423 0.70432 -0.16197 0.75926 -0.16423 0.76975 C -0.16493 0.77284 -0.16788 0.77191 -0.16944 0.77345 C -0.17135 0.775 -0.17291 0.77716 -0.17465 0.77901 C -0.17725 0.78117 -0.18038 0.78271 -0.18298 0.78456 C -0.18333 0.78642 -0.18402 0.78796 -0.18402 0.79012 C -0.18472 0.80648 -0.18385 0.82345 -0.18506 0.84012 C -0.18524 0.84228 -0.18715 0.8429 -0.18819 0.84382 C -0.19027 0.84537 -0.19253 0.84568 -0.19444 0.84753 C -0.2 0.85216 -0.19722 0.8503 -0.20277 0.85308 C -0.20312 0.85617 -0.20347 0.85926 -0.20381 0.86234 C -0.20486 0.8679 -0.20694 0.87901 -0.20694 0.87901 C -0.20659 0.88765 -0.20468 0.91574 -0.20694 0.9253 C -0.20868 0.93209 -0.2151 0.93333 -0.2184 0.93456 C -0.23211 0.95247 -0.2151 0.93024 -0.22569 0.94382 C -0.23472 0.95524 -0.22569 0.94413 -0.23298 0.95308 C -0.23333 0.95493 -0.23402 0.95648 -0.23402 0.95864 C -0.23472 0.96944 -0.23472 0.98086 -0.23506 0.99197 C -0.23541 0.99753 -0.23541 1.00308 -0.23611 1.00864 C -0.23645 1.01049 -0.23715 1.01296 -0.23819 1.01419 C -0.2401 1.01605 -0.24444 1.0179 -0.24444 1.0179 C -0.24513 1.02098 -0.24635 1.02376 -0.24652 1.02716 C -0.24687 1.03117 -0.24618 1.05123 -0.24861 1.06049 C -0.2493 1.06234 -0.25 1.06419 -0.25069 1.06605 C -0.25138 1.0716 -0.2526 1.07685 -0.25277 1.08271 C -0.25295 1.0895 -0.25191 1.09598 -0.25173 1.10308 C -0.25156 1.11327 -0.25173 1.12407 -0.25173 1.13456 " pathEditMode="relative" ptsTypes="AAAAAAAAAAAAAAAAAAAAAAAAAAAAAAAAAAAAAAAAAAAAAAAAAAAAAAAAAAAAAAAAAAAAAAAAAAAAAAAAAAA">
                                      <p:cBhvr>
                                        <p:cTn id="18" dur="9750" fill="hold"/>
                                        <p:tgtEl>
                                          <p:spTgt spid="40"/>
                                        </p:tgtEl>
                                        <p:attrNameLst>
                                          <p:attrName>ppt_x</p:attrName>
                                          <p:attrName>ppt_y</p:attrName>
                                        </p:attrNameLst>
                                      </p:cBhvr>
                                    </p:animMotion>
                                  </p:childTnLst>
                                </p:cTn>
                              </p:par>
                              <p:par>
                                <p:cTn id="19" presetID="0" presetClass="path" presetSubtype="0" fill="hold" nodeType="withEffect">
                                  <p:stCondLst>
                                    <p:cond delay="1300"/>
                                  </p:stCondLst>
                                  <p:childTnLst>
                                    <p:animMotion origin="layout" path="M 0.00191 -0.00493 L 0.00191 -0.00493 C 3.05556E-6 0.00433 -0.00087 0.00988 -0.0033 0.01729 C -0.00625 0.02624 -0.00469 0.02007 -0.00851 0.0284 C -0.01007 0.0318 -0.01181 0.03766 -0.01285 0.04136 C -0.0132 0.04321 -0.01354 0.04507 -0.01372 0.04692 C -0.01354 0.05402 -0.01233 0.09198 -0.01181 0.10062 C -0.01163 0.1034 -0.01094 0.10556 -0.01059 0.10803 C -0.00851 0.13118 -0.01129 0.11451 -0.00747 0.13396 L -0.00643 0.13951 C -0.00695 0.14352 -0.00729 0.15155 -0.00851 0.15618 C -0.0092 0.15803 -0.01007 0.15957 -0.01059 0.16173 C -0.01111 0.16328 -0.01129 0.16544 -0.01181 0.16729 C -0.01233 0.16914 -0.0132 0.17068 -0.01372 0.17284 C -0.01806 0.18797 -0.01094 0.16791 -0.01702 0.18396 C -0.01719 0.1926 -0.01754 0.20124 -0.01806 0.20988 C -0.01806 0.21081 -0.01893 0.22346 -0.01997 0.22655 C -0.02084 0.22871 -0.02205 0.23056 -0.02309 0.2321 C -0.0283 0.23828 -0.02587 0.23334 -0.03056 0.23766 C -0.0316 0.23859 -0.03247 0.24013 -0.03351 0.24136 C -0.0342 0.24321 -0.03473 0.24507 -0.03577 0.24692 C -0.03663 0.24846 -0.03785 0.24908 -0.03872 0.25062 C -0.03993 0.25217 -0.0408 0.25433 -0.04184 0.25618 C -0.04219 0.25803 -0.04271 0.25957 -0.04288 0.26173 C -0.04341 0.26389 -0.04358 0.26667 -0.04393 0.26914 C -0.04462 0.27161 -0.04532 0.27408 -0.04601 0.27655 C -0.04792 0.3 -0.05087 0.32963 -0.04497 0.35062 C -0.04184 0.36173 -0.04375 0.35556 -0.03872 0.36914 C -0.03802 0.37099 -0.03716 0.37254 -0.03663 0.3747 L -0.03473 0.38581 C -0.03716 0.42902 -0.03473 0.37717 -0.03473 0.45803 C -0.03473 0.46605 -0.03507 0.47408 -0.03577 0.4821 C -0.03577 0.48396 -0.03594 0.48612 -0.03663 0.48766 C -0.04028 0.49383 -0.04219 0.49445 -0.04601 0.49692 C -0.0474 0.50062 -0.05 0.5034 -0.05018 0.50803 C -0.05052 0.51359 -0.05018 0.53642 -0.0533 0.54507 L -0.05538 0.55062 C -0.05504 0.55803 -0.05486 0.56544 -0.05434 0.57284 C -0.05417 0.57655 -0.05295 0.5821 -0.05226 0.58581 C -0.05261 0.58828 -0.05261 0.59075 -0.0533 0.59321 C -0.05538 0.59908 -0.05764 0.59908 -0.06059 0.60247 C -0.06285 0.60463 -0.06476 0.60741 -0.06684 0.60988 L -0.07309 0.61729 L -0.07622 0.62099 C -0.07726 0.62192 -0.0783 0.62377 -0.07934 0.6247 C -0.08038 0.62531 -0.0816 0.62562 -0.08247 0.62655 C -0.0849 0.6284 -0.08716 0.6321 -0.08872 0.63581 C -0.0915 0.64167 -0.0915 0.64414 -0.09288 0.65247 C -0.09323 0.65433 -0.09341 0.65618 -0.09393 0.65803 C -0.09462 0.65988 -0.09549 0.66142 -0.09601 0.66359 C -0.09653 0.66513 -0.09653 0.66729 -0.09705 0.66914 C -0.09844 0.67284 -0.09983 0.67655 -0.10122 0.68025 L -0.1033 0.68581 C -0.1033 0.68673 -0.10261 0.70062 -0.10122 0.70433 C -0.10052 0.70649 -0.09913 0.70772 -0.09809 0.70988 C -0.09601 0.71451 -0.09618 0.71513 -0.09497 0.72099 C -0.09532 0.72593 -0.09497 0.73118 -0.09601 0.73581 C -0.09688 0.73859 -0.09896 0.7392 -0.10018 0.74136 C -0.10243 0.74476 -0.10434 0.74877 -0.10643 0.75247 C -0.10747 0.75433 -0.10834 0.75649 -0.10955 0.75803 L -0.11268 0.76173 C -0.11771 0.775 -0.11511 0.76945 -0.11997 0.7784 C -0.12032 0.78025 -0.12101 0.7818 -0.12101 0.78396 C -0.12153 0.79507 -0.11702 0.82531 -0.12518 0.83766 C -0.12604 0.83889 -0.12726 0.83889 -0.1283 0.83951 C -0.13143 0.84352 -0.13559 0.84908 -0.13872 0.85247 C -0.13976 0.8534 -0.14098 0.85309 -0.14184 0.85433 C -0.1441 0.85649 -0.14809 0.86173 -0.14809 0.86173 C -0.1474 0.87439 -0.14775 0.87747 -0.14601 0.88766 C -0.14549 0.89136 -0.14532 0.89538 -0.14393 0.89877 L -0.14184 0.90433 C -0.14219 0.91297 -0.1415 0.92192 -0.14288 0.93025 C -0.14341 0.93272 -0.14584 0.93241 -0.14705 0.93396 C -0.14931 0.93612 -0.15122 0.93889 -0.1533 0.94136 L -0.15643 0.94507 L -0.15955 0.94877 L -0.16268 0.95247 C -0.16337 0.95494 -0.16407 0.95741 -0.16476 0.95988 C -0.16615 0.96359 -0.16893 0.97099 -0.16893 0.97099 C -0.16927 0.97531 -0.16927 0.97963 -0.16997 0.98396 C -0.17032 0.98519 -0.17518 0.99661 -0.17518 0.99692 C -0.17639 0.9997 -0.17726 1.00309 -0.1783 1.00618 C -0.17969 1.00926 -0.18247 1.01328 -0.18455 1.01544 C -0.18559 1.01605 -0.18681 1.01636 -0.18768 1.01729 C -0.19497 1.02346 -0.18611 1.01914 -0.19601 1.02284 C -0.19636 1.03766 -0.19601 1.05247 -0.19705 1.06729 C -0.1974 1.07007 -0.19948 1.07192 -0.20018 1.0747 C -0.20087 1.07624 -0.2007 1.0784 -0.20122 1.08025 C -0.20486 1.09167 -0.204 1.08951 -0.20851 1.09507 C -0.2092 1.09754 -0.20973 1.1 -0.21059 1.10247 C -0.21146 1.10433 -0.21285 1.10587 -0.21372 1.10803 C -0.21459 1.10957 -0.21511 1.11173 -0.2158 1.11359 C -0.21545 1.12223 -0.21615 1.13087 -0.21476 1.13951 C -0.21424 1.14321 -0.21181 1.14538 -0.21059 1.14877 C -0.21007 1.15031 -0.2099 1.15247 -0.20955 1.15433 C -0.2099 1.15741 -0.21025 1.1605 -0.21059 1.16359 C -0.21181 1.17315 -0.21163 1.16791 -0.21163 1.1747 " pathEditMode="relative" ptsTypes="AAAAAAAAAAAAAAAAAAAAAAAAAAAAAAAAAAAAAAAAAAAAAAAAAAAAAAAAAAAAAAAAAAAAAAAAAAAAAAAAAAAAAAAAAAAAAAAAA">
                                      <p:cBhvr>
                                        <p:cTn id="20" dur="10250" fill="hold"/>
                                        <p:tgtEl>
                                          <p:spTgt spid="50"/>
                                        </p:tgtEl>
                                        <p:attrNameLst>
                                          <p:attrName>ppt_x</p:attrName>
                                          <p:attrName>ppt_y</p:attrName>
                                        </p:attrNameLst>
                                      </p:cBhvr>
                                    </p:animMotion>
                                  </p:childTnLst>
                                </p:cTn>
                              </p:par>
                              <p:par>
                                <p:cTn id="21" presetID="0" presetClass="path" presetSubtype="0" accel="14000" decel="3000" fill="hold" nodeType="withEffect">
                                  <p:stCondLst>
                                    <p:cond delay="500"/>
                                  </p:stCondLst>
                                  <p:childTnLst>
                                    <p:animMotion origin="layout" path="M -0.00157 0.0071 L -0.00157 0.0071 C -0.00226 0.01666 -0.00191 0.02191 -0.00365 0.02932 C -0.00434 0.03179 -0.00487 0.03456 -0.00573 0.03672 C -0.0066 0.03827 -0.00782 0.03919 -0.00886 0.04043 C -0.00973 0.0429 -0.01181 0.04969 -0.01198 0.05339 C -0.01268 0.06234 -0.01233 0.07191 -0.01302 0.08117 C -0.01337 0.08364 -0.01441 0.08611 -0.01511 0.08858 C -0.0158 0.09043 -0.01632 0.09259 -0.01719 0.09413 C -0.02362 0.10401 -0.02205 0.09876 -0.02761 0.10524 C -0.0349 0.11296 -0.02882 0.10895 -0.0349 0.11265 C -0.03872 0.11759 -0.04167 0.12006 -0.04323 0.12932 C -0.04358 0.13117 -0.0441 0.13271 -0.04427 0.13487 C -0.0448 0.13703 -0.04445 0.14012 -0.04532 0.14228 C -0.04705 0.14537 -0.04931 0.14814 -0.05157 0.14969 C -0.05261 0.15031 -0.05382 0.15031 -0.05469 0.15154 C -0.05695 0.1537 -0.05868 0.1574 -0.06094 0.15895 L -0.06719 0.16265 C -0.06858 0.16512 -0.06997 0.16759 -0.07136 0.17006 C -0.0724 0.17129 -0.07362 0.17222 -0.07448 0.17376 C -0.08542 0.18734 -0.07066 0.16944 -0.0849 0.18672 C -0.08681 0.18858 -0.09098 0.19351 -0.09219 0.19598 C -0.09532 0.20123 -0.09375 0.20092 -0.09532 0.2071 C -0.09792 0.21605 -0.09723 0.20864 -0.09844 0.21821 C -0.09896 0.22098 -0.09879 0.22438 -0.09948 0.22747 C -0.10052 0.23148 -0.10296 0.23426 -0.10365 0.23858 C -0.10487 0.24413 -0.10591 0.25154 -0.10886 0.25524 L -0.11198 0.25895 C -0.11268 0.26142 -0.11337 0.26389 -0.11407 0.26635 C -0.11511 0.26882 -0.11667 0.27068 -0.11719 0.27376 C -0.11841 0.27839 -0.11841 0.28364 -0.11927 0.28858 C -0.11997 0.29228 -0.12049 0.29598 -0.12136 0.29969 C -0.12414 0.30895 -0.12275 0.30463 -0.12552 0.31265 C -0.12622 0.32006 -0.12691 0.32747 -0.12761 0.33487 L -0.12969 0.35339 C -0.12934 0.3571 -0.12917 0.3608 -0.12865 0.3645 C -0.12813 0.36821 -0.12726 0.37191 -0.12657 0.37561 L -0.12552 0.38117 C -0.12518 0.38302 -0.125 0.38487 -0.12448 0.38672 C -0.12379 0.38981 -0.12309 0.39259 -0.1224 0.39598 C -0.12205 0.39814 -0.12171 0.40092 -0.12136 0.40339 C -0.12171 0.42747 -0.12188 0.45154 -0.1224 0.47561 C -0.12257 0.47747 -0.12292 0.47932 -0.12344 0.48117 C -0.12431 0.48333 -0.12552 0.48487 -0.12657 0.48672 C -0.12865 0.49722 -0.12622 0.48734 -0.13073 0.49784 C -0.13195 0.50031 -0.13629 0.51296 -0.13802 0.51635 C -0.13907 0.5179 -0.14028 0.51851 -0.14115 0.52006 C -0.14237 0.5216 -0.14323 0.52376 -0.14427 0.52561 C -0.14497 0.52932 -0.14653 0.53271 -0.14636 0.53672 C -0.14636 0.53734 -0.14636 0.56358 -0.14427 0.57191 C -0.14393 0.57376 -0.14289 0.57561 -0.14219 0.57747 C -0.14254 0.58364 -0.14254 0.58981 -0.14323 0.59598 C -0.14358 0.59814 -0.1448 0.59938 -0.14532 0.60154 C -0.15139 0.62253 -0.13976 0.58796 -0.14948 0.61265 C -0.15052 0.61481 -0.1507 0.61759 -0.15157 0.62006 C -0.154 0.62592 -0.1566 0.62716 -0.1599 0.63117 C -0.16459 0.63611 -0.16146 0.63364 -0.16615 0.63672 C -0.16997 0.65679 -0.16389 0.62623 -0.16927 0.64784 C -0.17032 0.65123 -0.17066 0.65524 -0.17136 0.65895 C -0.17414 0.67037 -0.17309 0.66481 -0.17448 0.67561 C -0.17483 0.68981 -0.17431 0.70401 -0.17552 0.71821 C -0.17587 0.72006 -0.18177 0.73364 -0.18282 0.73672 C -0.18316 0.73858 -0.18334 0.74043 -0.18386 0.74228 C -0.18525 0.74598 -0.18733 0.74907 -0.18802 0.75339 C -0.18837 0.75524 -0.18872 0.7571 -0.18907 0.75895 C -0.1908 0.76543 -0.19115 0.76605 -0.19323 0.77191 C -0.19341 0.77407 -0.19341 0.79135 -0.19532 0.79784 C -0.19671 0.80154 -0.19723 0.8074 -0.19948 0.80895 C -0.20243 0.81049 -0.20348 0.81049 -0.20573 0.8145 C -0.20799 0.8179 -0.21198 0.82561 -0.21198 0.82561 C -0.21112 0.84166 -0.21164 0.84074 -0.2099 0.85339 C -0.20973 0.85586 -0.20955 0.85833 -0.20886 0.8608 C -0.20851 0.86265 -0.20747 0.86419 -0.20677 0.86635 C -0.20608 0.86851 -0.20539 0.87098 -0.20469 0.87376 C -0.20434 0.87531 -0.20434 0.87747 -0.20365 0.87932 C -0.20296 0.88179 -0.20157 0.88426 -0.20052 0.88672 C -0.19705 0.90555 -0.19827 0.89753 -0.19636 0.9108 C -0.19671 0.92376 -0.19688 0.93672 -0.1974 0.94969 C -0.19757 0.95154 -0.19827 0.95308 -0.19844 0.95524 C -0.19896 0.9574 -0.19931 0.95987 -0.19948 0.96265 C -0.20035 0.96975 -0.20157 0.98487 -0.20157 0.98487 C -0.20122 0.98796 -0.20087 0.99074 -0.20052 0.99413 C -0.20018 1 -0.20035 1.00648 -0.19948 1.01265 C -0.19931 1.01481 -0.19827 1.01635 -0.1974 1.01821 C -0.19549 1.02191 -0.19115 1.02932 -0.19115 1.02932 C -0.18872 1.0429 -0.19011 1.03271 -0.19011 1.0608 " pathEditMode="relative" ptsTypes="AAAAAAAAAAAAAAAAAAAAAAAAAAAAAAAAAAAAAAAAAAAAAAAAAAAAAAAAAAAAAAAAAAAAAAAAAAAAAAAAAAAAAA">
                                      <p:cBhvr>
                                        <p:cTn id="22" dur="11250" fill="hold"/>
                                        <p:tgtEl>
                                          <p:spTgt spid="49"/>
                                        </p:tgtEl>
                                        <p:attrNameLst>
                                          <p:attrName>ppt_x</p:attrName>
                                          <p:attrName>ppt_y</p:attrName>
                                        </p:attrNameLst>
                                      </p:cBhvr>
                                    </p:animMotion>
                                  </p:childTnLst>
                                </p:cTn>
                              </p:par>
                              <p:par>
                                <p:cTn id="23" presetID="0" presetClass="path" presetSubtype="0" fill="hold" nodeType="withEffect">
                                  <p:stCondLst>
                                    <p:cond delay="3200"/>
                                  </p:stCondLst>
                                  <p:childTnLst>
                                    <p:animMotion origin="layout" path="M -0.00434 0.01296 L -0.00434 0.01296 C -0.00503 0.01852 -0.00573 0.02438 -0.00642 0.02963 C -0.00677 0.0324 -0.00694 0.03487 -0.00746 0.03703 C -0.00885 0.04197 -0.01163 0.04629 -0.01371 0.05 C -0.01475 0.05524 -0.01475 0.0571 -0.01684 0.06111 C -0.01927 0.06574 -0.02239 0.06913 -0.02413 0.07407 L -0.02829 0.08487 C -0.02899 0.08673 -0.03003 0.08858 -0.03038 0.09043 L -0.03246 0.10185 C -0.03211 0.11481 -0.03194 0.12777 -0.03142 0.14074 C -0.03125 0.14753 -0.03055 0.15432 -0.02934 0.1608 C -0.02916 0.16296 -0.02864 0.1645 -0.02829 0.16666 C -0.02795 0.16882 -0.02777 0.1716 -0.02725 0.17407 C -0.02673 0.17716 -0.02604 0.18024 -0.02517 0.18333 C -0.02465 0.18518 -0.02378 0.18673 -0.02309 0.18889 C -0.02239 0.19105 -0.0217 0.19382 -0.021 0.19629 C -0.02135 0.20308 -0.02135 0.20987 -0.02204 0.21666 C -0.02239 0.21882 -0.02378 0.22006 -0.02413 0.22222 C -0.02517 0.22561 -0.02534 0.22963 -0.02621 0.23333 L -0.02829 0.24074 C -0.03142 0.27839 -0.0302 0.25833 -0.02829 0.33333 C -0.02829 0.33518 -0.0276 0.33703 -0.02725 0.33889 C -0.02691 0.34382 -0.02673 0.34876 -0.02621 0.3537 C -0.02604 0.35555 -0.02517 0.3571 -0.02517 0.35926 C -0.02517 0.36852 -0.02413 0.38117 -0.02829 0.38889 C -0.02934 0.39043 -0.03038 0.39135 -0.03142 0.39259 C -0.03698 0.4074 -0.02968 0.3895 -0.03663 0.40185 C -0.03975 0.4071 -0.03819 0.40679 -0.03975 0.41296 C -0.04045 0.41481 -0.04114 0.41666 -0.04184 0.41852 C -0.04323 0.4324 -0.04201 0.42685 -0.046 0.43889 C -0.0467 0.44074 -0.04722 0.4429 -0.04809 0.44444 C -0.05 0.44722 -0.05434 0.45185 -0.05434 0.45185 C -0.06145 0.47068 -0.05277 0.44537 -0.05746 0.5 C -0.05781 0.50247 -0.05954 0.5037 -0.06059 0.50555 C -0.06093 0.5074 -0.06163 0.50895 -0.06163 0.51111 C -0.06267 0.52623 -0.06215 0.54197 -0.06371 0.5574 C -0.06406 0.55956 -0.06597 0.55956 -0.06684 0.56111 C -0.0684 0.56327 -0.06961 0.56605 -0.071 0.56852 C -0.07309 0.5716 -0.07604 0.57376 -0.07829 0.57592 C -0.07934 0.57839 -0.08055 0.58055 -0.08142 0.58333 C -0.08298 0.58673 -0.08559 0.59444 -0.08559 0.59444 C -0.08524 0.59876 -0.08524 0.60308 -0.08454 0.6071 C -0.0842 0.60987 -0.08333 0.61234 -0.08246 0.61481 C -0.07882 0.62561 -0.07934 0.62407 -0.07517 0.63148 C -0.07552 0.63302 -0.07552 0.63549 -0.07621 0.63703 C -0.08038 0.64568 -0.07986 0.6395 -0.0835 0.64629 C -0.08489 0.64845 -0.08559 0.65123 -0.08663 0.6537 C -0.08802 0.65617 -0.08958 0.65833 -0.09079 0.66111 C -0.09305 0.66574 -0.09461 0.67129 -0.09704 0.67592 C -0.09843 0.67839 -0.1 0.68055 -0.10121 0.68333 C -0.10208 0.68487 -0.10243 0.68703 -0.10329 0.68889 C -0.11111 0.70247 -0.10468 0.68673 -0.10954 0.7 C -0.10781 0.71574 -0.10816 0.70895 -0.10954 0.73333 C -0.10972 0.73518 -0.11076 0.74506 -0.11163 0.74814 C -0.11302 0.75185 -0.11371 0.75679 -0.11579 0.75926 L -0.11892 0.76296 C -0.12066 0.76728 -0.12204 0.77037 -0.12309 0.77592 C -0.12448 0.7821 -0.12448 0.78981 -0.12517 0.79629 C -0.12534 0.79753 -0.12725 0.81512 -0.12934 0.81852 C -0.1309 0.82068 -0.13281 0.82098 -0.13454 0.82222 C -0.13593 0.82284 -0.1375 0.82314 -0.13871 0.82407 C -0.13993 0.82438 -0.14079 0.82561 -0.14184 0.82592 C -0.14531 0.82685 -0.14878 0.82685 -0.15225 0.82777 C -0.15329 0.82901 -0.15434 0.83024 -0.15538 0.83148 C -0.15642 0.8321 -0.15764 0.8321 -0.1585 0.83333 C -0.15989 0.83456 -0.16059 0.83703 -0.16163 0.83889 C -0.16423 0.85185 -0.16093 0.8358 -0.16475 0.85185 C -0.16527 0.85339 -0.16545 0.85555 -0.16579 0.8574 C -0.16614 0.86975 -0.16545 0.8821 -0.16684 0.89444 C -0.16718 0.89691 -0.16979 0.8966 -0.171 0.89814 C -0.17222 0.89907 -0.17309 0.90092 -0.17413 0.90185 C -0.17569 0.90277 -0.18246 0.90493 -0.1835 0.90555 C -0.18889 0.90771 -0.18472 0.90648 -0.18975 0.91111 C -0.19149 0.91234 -0.19323 0.91358 -0.19496 0.91481 L -0.19913 0.92592 C -0.19982 0.92777 -0.20034 0.92963 -0.20121 0.93148 C -0.20225 0.93333 -0.20347 0.93487 -0.20434 0.93703 C -0.21267 0.95432 -0.20121 0.93117 -0.20746 0.94814 C -0.20833 0.95031 -0.20954 0.95185 -0.21059 0.9537 C -0.21041 0.95617 -0.20937 0.96852 -0.2085 0.97222 C -0.20816 0.97407 -0.20711 0.97561 -0.20642 0.97777 C -0.20607 0.97932 -0.20573 0.98148 -0.20538 0.98333 C -0.20607 0.98827 -0.20659 0.99321 -0.20746 0.99814 C -0.20833 1.00216 -0.21111 1.00617 -0.21267 1.00926 C -0.21458 1.02253 -0.21267 1.01049 -0.21579 1.02592 C -0.21666 1.02932 -0.21736 1.03302 -0.21788 1.03703 C -0.21927 1.04629 -0.21857 1.04197 -0.21996 1.05 C -0.21961 1.06296 -0.21996 1.07592 -0.21892 1.08889 C -0.21892 1.09105 -0.21701 1.09197 -0.21684 1.09444 C -0.21632 1.11389 -0.21684 1.13395 -0.21684 1.1537 " pathEditMode="relative" ptsTypes="AAAAAAAAAAAAAAAAAAAAAAAAAAAAAAAAAAAAAAAAAAAAAAAAAAAAAAAAAAAAAAAAAAAAAAAAAAAAAAAAAAAAAAAAAAA">
                                      <p:cBhvr>
                                        <p:cTn id="24" dur="10250" fill="hold"/>
                                        <p:tgtEl>
                                          <p:spTgt spid="58"/>
                                        </p:tgtEl>
                                        <p:attrNameLst>
                                          <p:attrName>ppt_x</p:attrName>
                                          <p:attrName>ppt_y</p:attrName>
                                        </p:attrNameLst>
                                      </p:cBhvr>
                                    </p:animMotion>
                                  </p:childTnLst>
                                </p:cTn>
                              </p:par>
                              <p:par>
                                <p:cTn id="25" presetID="0" presetClass="path" presetSubtype="0" fill="hold" nodeType="withEffect">
                                  <p:stCondLst>
                                    <p:cond delay="1500"/>
                                  </p:stCondLst>
                                  <p:childTnLst>
                                    <p:animMotion origin="layout" path="M 0.01494 0.01296 L 0.01494 0.01296 C 0.0125 0.01667 0.00261 0.02963 -0.00069 0.03704 C -0.0026 0.04136 -0.00416 0.04599 -0.0059 0.05 C -0.00694 0.05216 -0.00816 0.05371 -0.00902 0.05556 C -0.01024 0.05864 -0.01111 0.06204 -0.01215 0.06482 C -0.01718 0.07901 -0.01545 0.0713 -0.01736 0.08148 C -0.01701 0.09167 -0.01736 0.10154 -0.01631 0.11111 C -0.01614 0.11358 -0.01475 0.11482 -0.01423 0.11667 C -0.01371 0.12006 -0.01371 0.12408 -0.01319 0.12778 C -0.01267 0.13148 -0.0118 0.13519 -0.01111 0.13889 L -0.01006 0.14445 C -0.01041 0.1605 -0.01006 0.17654 -0.01111 0.19259 C -0.01145 0.19537 -0.01354 0.19722 -0.01423 0.2 C -0.01493 0.20154 -0.01493 0.20371 -0.01527 0.20556 C -0.01493 0.21482 -0.01493 0.22408 -0.01423 0.23333 C -0.01388 0.2392 -0.01267 0.23889 -0.01111 0.24445 C -0.01076 0.24599 -0.01041 0.24815 -0.01006 0.25 C -0.01041 0.2605 -0.01041 0.27099 -0.01111 0.28148 C -0.01163 0.28766 -0.01371 0.28982 -0.01631 0.29259 C -0.0177 0.29383 -0.01927 0.29445 -0.02048 0.2963 C -0.0243 0.30093 -0.02309 0.30154 -0.02569 0.30741 C -0.02986 0.31605 -0.0276 0.30988 -0.03194 0.31636 C -0.03506 0.32099 -0.03524 0.32222 -0.03715 0.32778 C -0.03802 0.33395 -0.03836 0.33827 -0.03923 0.34445 C -0.03958 0.3463 -0.03993 0.34815 -0.04027 0.35 C -0.04166 0.37685 -0.04201 0.37222 -0.04027 0.40556 C -0.0401 0.41111 -0.03645 0.41883 -0.03506 0.42222 L -0.03298 0.42778 C -0.03333 0.44074 -0.03298 0.45371 -0.03402 0.46667 C -0.03437 0.46914 -0.03628 0.47006 -0.03715 0.47222 C -0.03802 0.47377 -0.03836 0.47593 -0.03923 0.47778 C -0.04236 0.48303 -0.04218 0.48025 -0.04548 0.48333 C -0.0467 0.48426 -0.04756 0.48611 -0.04861 0.48704 C -0.05121 0.48889 -0.0585 0.49012 -0.06006 0.49074 C -0.06111 0.49259 -0.06232 0.49414 -0.06319 0.4963 C -0.07152 0.51482 -0.06441 0.5 -0.06944 0.51482 C -0.07048 0.51729 -0.07152 0.51975 -0.07256 0.52222 C -0.07326 0.52716 -0.07482 0.53179 -0.07465 0.53704 C -0.0743 0.55 -0.0743 0.56296 -0.07361 0.57593 C -0.07361 0.5784 -0.07291 0.58056 -0.07256 0.58333 C -0.071 0.59661 -0.07239 0.58796 -0.07048 0.59815 C -0.07083 0.60926 -0.06979 0.62068 -0.07152 0.63148 C -0.07239 0.63642 -0.07569 0.63889 -0.07777 0.64259 L -0.08506 0.65556 C -0.08611 0.65741 -0.0875 0.65864 -0.08819 0.66111 C -0.08888 0.66296 -0.08975 0.66451 -0.09027 0.66667 C -0.09236 0.67377 -0.09045 0.6713 -0.09236 0.67963 C -0.09288 0.68148 -0.09375 0.68333 -0.09444 0.68519 C -0.09479 0.68827 -0.09496 0.69136 -0.09548 0.69445 C -0.096 0.69692 -0.09704 0.69908 -0.09756 0.70185 C -0.09809 0.7034 -0.09826 0.70556 -0.09861 0.70741 C -0.09895 0.71667 -0.09895 0.72593 -0.09965 0.73519 C -0.1 0.73735 -0.10121 0.73858 -0.10173 0.74074 C -0.10225 0.74229 -0.10243 0.74445 -0.10277 0.7463 C -0.10347 0.74877 -0.10434 0.75093 -0.10486 0.75371 C -0.10538 0.75587 -0.10555 0.75864 -0.1059 0.76111 C -0.10625 0.76296 -0.10659 0.76482 -0.10694 0.76667 C -0.10659 0.77654 -0.10677 0.78642 -0.1059 0.7963 C -0.10572 0.79877 -0.10451 0.80093 -0.10381 0.80371 C -0.10347 0.80587 -0.10312 0.80864 -0.10277 0.81111 C -0.10347 0.8179 -0.10329 0.82562 -0.1059 0.83148 C -0.10677 0.83303 -0.10816 0.83364 -0.10902 0.83519 C -0.11163 0.83858 -0.11545 0.84692 -0.11631 0.85185 L -0.11736 0.85741 C -0.1177 0.86235 -0.1177 0.86729 -0.1184 0.87222 C -0.11944 0.87747 -0.12187 0.88148 -0.12256 0.88704 C -0.12586 0.91019 -0.1217 0.88117 -0.12465 0.9 C -0.12517 0.90216 -0.12534 0.90494 -0.12569 0.90741 C -0.12534 0.9179 -0.12552 0.9284 -0.12465 0.93889 C -0.12413 0.9463 -0.12152 0.96111 -0.12152 0.96111 C -0.12256 0.98982 -0.12204 0.99352 -0.12465 1.02037 C -0.12517 1.02438 -0.12691 1.02963 -0.12777 1.03333 C -0.12812 1.03642 -0.12812 1.03951 -0.12881 1.04259 C -0.12951 1.04475 -0.13125 1.04568 -0.13194 1.04815 C -0.13263 1.04969 -0.13263 1.05185 -0.13298 1.05371 C -0.13368 1.07408 -0.1342 1.09445 -0.13506 1.11482 C -0.13524 1.11667 -0.13559 1.11852 -0.13611 1.12037 C -0.1375 1.12408 -0.14027 1.13148 -0.14027 1.13148 C -0.13993 1.13766 -0.14027 1.14383 -0.13923 1.15 C -0.13767 1.15926 -0.13524 1.16142 -0.1309 1.16482 C -0.13003 1.16543 -0.12881 1.16605 -0.12777 1.16667 C -0.12708 1.17037 -0.12673 1.17408 -0.12569 1.17778 C -0.125 1.18025 -0.12309 1.1821 -0.12256 1.18519 C -0.12204 1.18858 -0.12256 1.19259 -0.12256 1.1963 " pathEditMode="relative" ptsTypes="AAAAAAAAAAAAAAAAAAAAAAAAAAAAAAAAAAAAAAAAAAAAAAAAAAAAAAAAAAAAAAAAAAAAAAAAAAAAAAAAAAAAA">
                                      <p:cBhvr>
                                        <p:cTn id="26" dur="10500" fill="hold"/>
                                        <p:tgtEl>
                                          <p:spTgt spid="42"/>
                                        </p:tgtEl>
                                        <p:attrNameLst>
                                          <p:attrName>ppt_x</p:attrName>
                                          <p:attrName>ppt_y</p:attrName>
                                        </p:attrNameLst>
                                      </p:cBhvr>
                                    </p:animMotion>
                                  </p:childTnLst>
                                </p:cTn>
                              </p:par>
                              <p:par>
                                <p:cTn id="27" presetID="0" presetClass="path" presetSubtype="0" fill="hold" nodeType="withEffect">
                                  <p:stCondLst>
                                    <p:cond delay="6500"/>
                                  </p:stCondLst>
                                  <p:childTnLst>
                                    <p:animMotion origin="layout" path="M 5E-6 -4.19753E-6 L 5E-6 0.00093 C -0.00105 0.00587 -0.00191 0.01173 -0.00313 0.01698 C -0.004 0.02037 -0.00573 0.02192 -0.00643 0.02439 C -0.00695 0.02655 -0.00695 0.02809 -0.0073 0.02963 C -0.0085 0.03334 -0.01025 0.03642 -0.01146 0.0392 C -0.01268 0.04198 -0.01355 0.04507 -0.01476 0.04784 C -0.01632 0.05895 -0.01546 0.05247 -0.01771 0.06636 C -0.01806 0.06821 -0.01841 0.07007 -0.01875 0.07192 C -0.01841 0.08334 -0.01841 0.09445 -0.01771 0.10525 C -0.01771 0.10679 -0.01719 0.10895 -0.01685 0.11081 C -0.01632 0.11297 -0.01632 0.11574 -0.01563 0.11821 C -0.01511 0.12192 -0.01424 0.12531 -0.01355 0.12933 C -0.01355 0.13149 -0.01303 0.13272 -0.01268 0.13488 C -0.01146 0.14414 -0.01216 0.13982 -0.0106 0.14784 C -0.01146 0.15618 -0.01146 0.16019 -0.01355 0.16821 C -0.01476 0.17223 -0.01632 0.17562 -0.01771 0.17963 C -0.01841 0.18118 -0.01962 0.18241 -0.02014 0.18457 C -0.02014 0.18673 -0.02049 0.18858 -0.02084 0.19074 C -0.02136 0.19568 -0.02171 0.20155 -0.02205 0.2071 C -0.02292 0.21451 -0.025 0.21574 -0.02709 0.22408 C -0.03004 0.23365 -0.0283 0.22902 -0.03247 0.23642 C -0.03455 0.26112 -0.03455 0.25618 -0.03247 0.29445 C -0.03195 0.30371 -0.03073 0.30618 -0.02917 0.31451 C -0.02882 0.31698 -0.02865 0.31945 -0.0283 0.32192 C -0.02744 0.32686 -0.02622 0.33179 -0.025 0.33673 C -0.02535 0.34661 -0.025 0.35649 -0.02622 0.36636 C -0.02674 0.36883 -0.02865 0.36976 -0.02917 0.37223 C -0.03004 0.37377 -0.03004 0.37593 -0.03039 0.37747 L -0.03247 0.38334 C -0.03455 0.39723 -0.03455 0.39507 -0.03247 0.41821 C -0.03212 0.42068 -0.03125 0.42161 -0.03039 0.42346 C -0.02952 0.42593 -0.02882 0.4284 -0.0283 0.43087 C -0.02796 0.43303 -0.02796 0.43519 -0.02709 0.43673 C -0.02674 0.4392 -0.02587 0.44167 -0.025 0.44414 C -0.02223 0.45772 -0.02622 0.44537 -0.02205 0.45679 C -0.02223 0.46358 -0.02223 0.46976 -0.02292 0.47531 C -0.02344 0.47747 -0.02466 0.47902 -0.025 0.48118 C -0.02587 0.48488 -0.02587 0.48982 -0.02622 0.49445 C -0.02674 0.4963 -0.02674 0.49877 -0.02709 0.50124 C -0.02744 0.51667 -0.02744 0.53149 -0.0283 0.54568 C -0.0283 0.54815 -0.02952 0.55 -0.03039 0.55155 C -0.03125 0.55402 -0.03212 0.55649 -0.03334 0.55895 C -0.0349 0.56173 -0.03907 0.56451 -0.04063 0.56667 C -0.0415 0.56821 -0.04271 0.56914 -0.04271 0.57161 C -0.04271 0.58272 -0.04115 0.5926 -0.04063 0.60371 C -0.04063 0.60618 -0.04115 0.60865 -0.04185 0.61112 C -0.04271 0.61328 -0.04393 0.61451 -0.0448 0.61605 C -0.04653 0.61852 -0.05018 0.62223 -0.05226 0.62346 C -0.05435 0.625 -0.05678 0.625 -0.05834 0.62747 C -0.06737 0.63797 -0.05625 0.62562 -0.06459 0.63303 C -0.0658 0.63426 -0.06667 0.63581 -0.06789 0.63704 L -0.07396 0.64044 C -0.07535 0.64105 -0.07657 0.64105 -0.07726 0.64198 C -0.08143 0.64692 -0.07935 0.64476 -0.08351 0.64815 C -0.08403 0.64939 -0.08507 0.65155 -0.0856 0.6534 C -0.08646 0.65772 -0.08646 0.66266 -0.08768 0.66636 C -0.08837 0.66791 -0.08976 0.66791 -0.09063 0.66791 C -0.09549 0.66914 -0.10035 0.66945 -0.10539 0.67037 C -0.10695 0.67068 -0.11164 0.67315 -0.11268 0.67531 C -0.11355 0.67747 -0.1132 0.68056 -0.11355 0.68303 C -0.11441 0.6855 -0.11528 0.68797 -0.11563 0.69044 C -0.12518 0.71729 -0.11598 0.69044 -0.1231 0.70741 C -0.12466 0.71019 -0.12518 0.71574 -0.12709 0.71852 L -0.13334 0.72593 L -0.1375 0.72933 C -0.13872 0.72994 -0.13994 0.73056 -0.1408 0.73118 C -0.14202 0.7321 -0.14289 0.73365 -0.14375 0.73488 C -0.14445 0.73673 -0.14566 0.73828 -0.14619 0.74074 C -0.1474 0.74568 -0.14653 0.75402 -0.14896 0.7571 C -0.1573 0.76667 -0.15278 0.76389 -0.16268 0.76667 C -0.16389 0.78025 -0.16459 0.78889 -0.16268 0.80371 C -0.16146 0.81112 -0.15886 0.81266 -0.15643 0.81852 C -0.15435 0.82315 -0.15435 0.82346 -0.15313 0.82963 C -0.15487 0.82994 -0.15678 0.82963 -0.15851 0.83118 C -0.15973 0.8321 -0.1606 0.83457 -0.16146 0.83704 C -0.16424 0.8426 -0.16424 0.84507 -0.16598 0.8534 L -0.16789 0.86451 C -0.16806 0.86667 -0.16841 0.86821 -0.16875 0.87037 C -0.16928 0.87192 -0.16962 0.87346 -0.16997 0.87562 C -0.17049 0.87902 -0.17084 0.88179 -0.17084 0.88519 C -0.17136 0.89044 -0.17119 0.89568 -0.17205 0.90155 C -0.1724 0.90525 -0.17622 0.91019 -0.17709 0.91266 C -0.17744 0.92161 -0.17744 0.93118 -0.1783 0.94074 C -0.17865 0.9426 -0.18039 0.94352 -0.18039 0.94599 C -0.18108 0.95371 -0.18108 0.96204 -0.18125 0.97037 C -0.18108 0.9855 -0.18108 1.00124 -0.18039 1.01636 C -0.18039 1.02007 -0.179 1.02377 -0.1783 1.02747 C -0.17796 1.02994 -0.17744 1.03241 -0.17709 1.03488 C -0.17709 1.04383 -0.17744 1.0534 -0.17622 1.06297 C -0.17587 1.06451 -0.16129 1.07778 -0.16042 1.07933 C -0.15921 1.08179 -0.16268 1.11883 -0.16268 1.12223 " pathEditMode="relative" rAng="0" ptsTypes="AAAAAAAAAAAAAAAAAAAAAAAAAAAAAAAAAAAAAAAAAAAAAAAAAAAAAAAAAAAAAAAAAAAAAAAAAAAAAAAAAAAAAAAAAAAA">
                                      <p:cBhvr>
                                        <p:cTn id="28" dur="11750" fill="hold"/>
                                        <p:tgtEl>
                                          <p:spTgt spid="57"/>
                                        </p:tgtEl>
                                        <p:attrNameLst>
                                          <p:attrName>ppt_x</p:attrName>
                                          <p:attrName>ppt_y</p:attrName>
                                        </p:attrNameLst>
                                      </p:cBhvr>
                                      <p:rCtr x="-9063" y="56111"/>
                                    </p:animMotion>
                                  </p:childTnLst>
                                </p:cTn>
                              </p:par>
                              <p:par>
                                <p:cTn id="29" presetID="0" presetClass="path" presetSubtype="0" fill="hold" nodeType="withEffect">
                                  <p:stCondLst>
                                    <p:cond delay="5500"/>
                                  </p:stCondLst>
                                  <p:childTnLst>
                                    <p:animMotion origin="layout" path="M 0.00278 -0.00247 L 0.00278 -0.00247 C 0.00156 0.00247 0.00087 0.00771 -0.00052 0.01234 C -0.00156 0.01636 -0.00382 0.01944 -0.00469 0.02346 C -0.00503 0.02531 -0.00503 0.02778 -0.00573 0.02901 C -0.01753 0.05555 -0.00937 0.02963 -0.01614 0.05308 C -0.01649 0.05802 -0.01666 0.06327 -0.01719 0.0679 C -0.01736 0.07006 -0.01823 0.0716 -0.01823 0.07346 C -0.01823 0.07685 -0.01736 0.07963 -0.01719 0.08271 C -0.01528 0.10648 -0.01736 0.09413 -0.0151 0.10648 C -0.01545 0.12376 -0.01475 0.14136 -0.01614 0.15833 C -0.01614 0.1608 -0.01823 0.1608 -0.01927 0.16204 C -0.02031 0.16389 -0.02118 0.16605 -0.02239 0.16759 C -0.02326 0.16913 -0.02448 0.17006 -0.02552 0.17129 C -0.0276 0.175 -0.03177 0.18241 -0.03177 0.18241 C -0.03229 0.20308 -0.02916 0.21667 -0.03698 0.23055 C -0.04184 0.2395 -0.03923 0.23395 -0.04427 0.24722 L -0.04635 0.25278 C -0.04705 0.25771 -0.04791 0.26265 -0.04844 0.26759 C -0.04878 0.27129 -0.04878 0.27531 -0.04948 0.2787 C -0.05034 0.28487 -0.05191 0.28673 -0.05364 0.29167 C -0.05434 0.29413 -0.05486 0.29691 -0.05573 0.29907 C -0.05625 0.30123 -0.05712 0.30278 -0.05781 0.30463 C -0.06232 0.32068 -0.05347 0.29691 -0.06198 0.31759 C -0.06267 0.31944 -0.06302 0.32191 -0.06406 0.32315 C -0.06493 0.32438 -0.06614 0.32438 -0.06719 0.325 C -0.06823 0.32623 -0.06909 0.32778 -0.07031 0.3287 C -0.07153 0.33025 -0.07309 0.33117 -0.07448 0.33241 C -0.08194 0.34074 -0.0809 0.34043 -0.08802 0.35278 C -0.09236 0.3608 -0.09028 0.35648 -0.09427 0.36574 C -0.096 0.37562 -0.09409 0.3679 -0.09844 0.37685 C -0.09913 0.3787 -0.09965 0.38086 -0.10052 0.38241 C -0.10173 0.38518 -0.1033 0.38734 -0.10469 0.38981 C -0.10538 0.39167 -0.10607 0.39352 -0.10677 0.39537 C -0.10885 0.40185 -0.10868 0.40216 -0.10989 0.40833 C -0.10955 0.42315 -0.10972 0.43827 -0.10885 0.45278 C -0.10868 0.45525 -0.10712 0.45648 -0.10677 0.45833 C -0.10607 0.4608 -0.10607 0.46327 -0.10573 0.46574 C -0.10538 0.48734 -0.10521 0.50926 -0.10469 0.53055 C -0.10451 0.53518 -0.10399 0.5395 -0.10364 0.54352 C -0.10295 0.54876 -0.10156 0.55833 -0.10156 0.55833 C -0.10191 0.57253 -0.10121 0.58704 -0.1026 0.60092 C -0.10278 0.60339 -0.10469 0.60339 -0.10573 0.60463 C -0.10781 0.60833 -0.11198 0.61574 -0.11198 0.61574 C -0.11163 0.62623 -0.11094 0.63673 -0.11094 0.64722 C -0.11094 0.65 -0.11076 0.65339 -0.11198 0.65463 C -0.11423 0.65771 -0.12031 0.65833 -0.12031 0.65833 C -0.1276 0.66728 -0.11823 0.6571 -0.12864 0.66389 C -0.12969 0.66481 -0.13073 0.66636 -0.13177 0.66759 C -0.13073 0.66944 -0.12934 0.67099 -0.12864 0.67315 C -0.12673 0.67839 -0.12743 0.68734 -0.12864 0.69167 C -0.12916 0.69383 -0.13073 0.69413 -0.13177 0.69537 C -0.13646 0.70802 -0.1309 0.69568 -0.13698 0.70278 C -0.13819 0.70432 -0.13889 0.70679 -0.1401 0.70833 C -0.14132 0.71049 -0.14288 0.71204 -0.14427 0.71389 C -0.14739 0.71883 -0.14722 0.71944 -0.14948 0.725 C -0.14913 0.73426 -0.14965 0.74383 -0.14844 0.75278 C -0.14774 0.75741 -0.14427 0.76389 -0.14427 0.76389 C -0.14462 0.76574 -0.14479 0.7679 -0.14531 0.76944 C -0.14583 0.77222 -0.14687 0.77438 -0.14739 0.77685 C -0.14826 0.78302 -0.14861 0.7895 -0.14948 0.79537 C -0.14965 0.79753 -0.14982 0.79969 -0.15052 0.80092 C -0.15121 0.80278 -0.1526 0.80339 -0.15364 0.80463 C -0.15434 0.8071 -0.15451 0.81018 -0.15573 0.81204 C -0.15746 0.81543 -0.16198 0.81944 -0.16198 0.81944 C -0.16232 0.82315 -0.1625 0.82716 -0.16302 0.83055 C -0.16423 0.84043 -0.16597 0.83549 -0.16302 0.85092 C -0.1625 0.85401 -0.16094 0.85586 -0.15989 0.85833 C -0.16024 0.86018 -0.16007 0.86296 -0.16094 0.86389 C -0.16198 0.86574 -0.16371 0.86543 -0.1651 0.86574 C -0.16684 0.86667 -0.16857 0.86697 -0.17031 0.86759 C -0.17239 0.86883 -0.17656 0.87129 -0.17656 0.87129 C -0.17621 0.87623 -0.17639 0.88148 -0.17552 0.88611 C -0.17361 0.89568 -0.17187 0.8966 -0.16823 0.90092 C -0.16614 0.91173 -0.16441 0.91852 -0.16823 0.93241 C -0.16909 0.9358 -0.17239 0.93364 -0.17448 0.93426 C -0.17517 0.93611 -0.17639 0.93765 -0.17656 0.93981 C -0.17725 0.96204 -0.17691 0.96204 -0.17448 0.975 C -0.17482 0.98734 -0.17482 1 -0.17552 1.01204 C -0.17552 1.0142 -0.17656 1.01574 -0.17656 1.01759 C -0.17656 1.03271 -0.17621 1.03148 -0.17344 1.04167 C -0.17413 1.0642 -0.17534 1.07592 -0.17344 1.09722 C -0.17274 1.10494 -0.17239 1.11296 -0.17031 1.11944 C -0.16892 1.12376 -0.16719 1.12808 -0.16614 1.13241 C -0.16059 1.15401 -0.16701 1.1358 -0.16198 1.14907 C -0.16076 1.1571 -0.16232 1.15648 -0.15989 1.15648 " pathEditMode="relative" ptsTypes="AAAAAAAAAAAAAAAAAAAAAAAAAAAAAAAAAAAAAAAAAAAAAAAAAAAAAAAAAAAAAAAAAAAAAAAAAAAAAAAAAAAAAA">
                                      <p:cBhvr>
                                        <p:cTn id="30" dur="11250" fill="hold"/>
                                        <p:tgtEl>
                                          <p:spTgt spid="54"/>
                                        </p:tgtEl>
                                        <p:attrNameLst>
                                          <p:attrName>ppt_x</p:attrName>
                                          <p:attrName>ppt_y</p:attrName>
                                        </p:attrNameLst>
                                      </p:cBhvr>
                                    </p:animMotion>
                                  </p:childTnLst>
                                </p:cTn>
                              </p:par>
                              <p:par>
                                <p:cTn id="31" presetID="0" presetClass="path" presetSubtype="0" fill="hold" nodeType="withEffect">
                                  <p:stCondLst>
                                    <p:cond delay="6000"/>
                                  </p:stCondLst>
                                  <p:childTnLst>
                                    <p:animMotion origin="layout" path="M 0.00035 -0.00587 L 0.00035 -0.00587 C -0.00173 -0.00155 -0.00364 0.00339 -0.0059 0.00709 C -0.00781 0.01018 -0.01041 0.01142 -0.01215 0.0145 C -0.01458 0.01882 -0.01562 0.02129 -0.0184 0.02376 C -0.01944 0.02469 -0.02048 0.025 -0.02152 0.02561 C -0.02534 0.0358 -0.02152 0.02746 -0.02673 0.03487 C -0.02986 0.0395 -0.03003 0.04074 -0.03194 0.04598 C -0.03715 0.08302 -0.03194 0.04351 -0.03402 0.14228 C -0.0342 0.14475 -0.03472 0.14722 -0.03506 0.14969 C -0.03541 0.15462 -0.03524 0.16821 -0.03715 0.17561 C -0.03784 0.17746 -0.03854 0.17932 -0.03923 0.18117 C -0.04131 0.18487 -0.04305 0.18919 -0.04548 0.19228 L -0.05173 0.19969 C -0.05243 0.20154 -0.05381 0.20277 -0.05381 0.20524 C -0.05416 0.21018 -0.05364 0.21512 -0.05277 0.22006 C -0.0526 0.22191 -0.05138 0.22345 -0.05069 0.22561 C -0.05 0.22777 -0.04947 0.23055 -0.04861 0.23302 C -0.04809 0.23487 -0.04722 0.23642 -0.04652 0.23858 C -0.04618 0.24012 -0.046 0.24228 -0.04548 0.24413 C -0.04496 0.24598 -0.04392 0.24753 -0.0434 0.24969 C -0.04253 0.25308 -0.04201 0.25709 -0.04131 0.2608 L -0.04027 0.26635 L -0.03923 0.27191 C -0.03993 0.28117 -0.04062 0.29043 -0.04131 0.29969 C -0.04166 0.30308 -0.04357 0.30956 -0.04444 0.31265 C -0.04513 0.3145 -0.046 0.31604 -0.04652 0.31821 C -0.04704 0.31975 -0.04722 0.32191 -0.04756 0.32376 C -0.04722 0.32808 -0.04722 0.3324 -0.04652 0.33672 C -0.04618 0.34043 -0.04444 0.34783 -0.04444 0.34783 C -0.04479 0.3608 -0.04461 0.37376 -0.04548 0.38672 C -0.04566 0.38888 -0.04687 0.39043 -0.04756 0.39228 C -0.04965 0.39629 -0.05121 0.39876 -0.05381 0.40154 C -0.06909 0.41666 -0.04947 0.3966 -0.06111 0.40709 C -0.06232 0.40802 -0.06319 0.40956 -0.06423 0.4108 C -0.06527 0.41142 -0.06649 0.41172 -0.06736 0.41265 C -0.06892 0.41358 -0.07013 0.41512 -0.07152 0.41635 C -0.0809 0.42283 -0.075 0.41635 -0.0809 0.42376 C -0.08159 0.42561 -0.08298 0.42685 -0.08298 0.42932 C -0.08368 0.44135 -0.08246 0.44012 -0.07986 0.44783 C -0.07795 0.45401 -0.07795 0.45432 -0.07673 0.4608 C -0.07708 0.47129 -0.07656 0.48179 -0.07777 0.49228 C -0.07829 0.49537 -0.0842 0.49753 -0.08506 0.49783 C -0.08888 0.49845 -0.0927 0.49907 -0.09652 0.49969 C -0.09791 0.5003 -0.09947 0.5003 -0.10069 0.50154 C -0.10295 0.50339 -0.10486 0.50679 -0.10694 0.50895 L -0.11111 0.51265 C -0.11718 0.52839 -0.1092 0.50956 -0.11631 0.52006 C -0.11822 0.52253 -0.11979 0.53179 -0.12048 0.53487 C -0.12118 0.53734 -0.12187 0.53981 -0.12256 0.54228 C -0.12222 0.54783 -0.12204 0.55339 -0.12152 0.55895 C -0.12135 0.5608 -0.12135 0.56296 -0.12048 0.5645 C -0.11944 0.56666 -0.1177 0.56821 -0.11631 0.57006 C -0.11597 0.57191 -0.11493 0.57376 -0.11527 0.57561 C -0.11649 0.58148 -0.11996 0.58179 -0.12256 0.58302 C -0.12361 0.58425 -0.12465 0.58549 -0.12569 0.58672 C -0.12673 0.58734 -0.12795 0.58734 -0.12881 0.58858 C -0.13038 0.58981 -0.13159 0.59228 -0.13298 0.59413 C -0.13541 0.60679 -0.13211 0.59135 -0.13715 0.60709 C -0.13784 0.60864 -0.13767 0.61111 -0.13819 0.61265 C -0.1401 0.61666 -0.14444 0.62376 -0.14444 0.62376 C -0.14479 0.62623 -0.14548 0.62839 -0.14548 0.63117 C -0.14548 0.6466 -0.14479 0.6429 -0.14236 0.65524 C -0.14201 0.6574 -0.14184 0.66018 -0.14131 0.66265 C -0.14079 0.66635 -0.13993 0.67006 -0.13923 0.67376 L -0.13819 0.67932 C -0.1401 0.69907 -0.13715 0.68333 -0.1434 0.69598 C -0.14513 0.69907 -0.14531 0.70555 -0.14756 0.70709 C -0.14965 0.70833 -0.15191 0.70925 -0.15381 0.7108 C -0.15538 0.71172 -0.15659 0.71358 -0.15798 0.7145 C -0.16076 0.71543 -0.16354 0.71574 -0.16631 0.71635 C -0.16666 0.71882 -0.16701 0.72129 -0.16736 0.72376 C -0.16857 0.72901 -0.16996 0.73209 -0.17152 0.73672 C -0.17118 0.74166 -0.171 0.7466 -0.17048 0.75154 C -0.16927 0.7645 -0.16701 0.76049 -0.17048 0.78117 C -0.17083 0.78302 -0.17274 0.78209 -0.17361 0.78302 C -0.17691 0.7858 -0.1776 0.78888 -0.1809 0.79228 C -0.18194 0.79321 -0.18298 0.79351 -0.18402 0.79413 C -0.18506 0.79598 -0.18645 0.79722 -0.18715 0.79969 C -0.19392 0.81759 -0.19045 0.82685 -0.18923 0.85339 C -0.18923 0.85648 -0.18871 0.85956 -0.18819 0.86265 C -0.18802 0.8645 -0.1875 0.86604 -0.18715 0.86821 C -0.1868 0.87098 -0.18645 0.87438 -0.18611 0.87746 C -0.18576 0.88487 -0.18541 0.89197 -0.18506 0.89969 C -0.18472 0.90864 -0.18472 0.91821 -0.18402 0.92746 C -0.18402 0.92932 -0.18333 0.93086 -0.18298 0.93302 C -0.18038 0.94907 -0.1835 0.9324 -0.1809 0.94598 C -0.18125 0.95092 -0.1809 0.95617 -0.18194 0.9608 C -0.18281 0.96358 -0.18472 0.9645 -0.18611 0.96635 C -0.1875 0.96759 -0.18906 0.96851 -0.19027 0.97006 C -0.19149 0.97098 -0.19236 0.97253 -0.1934 0.97376 C -0.19409 0.97623 -0.19479 0.9787 -0.19548 0.98117 C -0.19618 0.98302 -0.19722 0.98456 -0.19756 0.98672 C -0.19861 0.99012 -0.19895 0.99413 -0.19965 0.99783 L -0.20069 1.00339 L -0.20173 1.00895 C -0.20277 1.03148 -0.19826 1.05246 -0.20694 1.06821 C -0.20798 1.06975 -0.2092 1.07037 -0.21006 1.07191 C -0.21284 1.07623 -0.21927 1.08703 -0.22048 1.09413 L -0.22256 1.10524 L -0.22361 1.1108 C -0.22326 1.12253 -0.22343 1.1358 -0.22152 1.14783 L -0.2184 1.1645 L -0.21736 1.17006 C -0.2177 1.17561 -0.21805 1.18117 -0.2184 1.18672 C -0.21875 1.19012 -0.21979 1.1929 -0.22048 1.19598 " pathEditMode="relative" ptsTypes="AAAAAAAAAAAAAAAAAAAAAAAAAAAAAAAAAAAAAAAAAAAAAAAAAAAAAAAAAAAAAAAAAAAAAAAAAAAAAAAAAAAAAAAAAAAAAAAAAAAAAAAAAA">
                                      <p:cBhvr>
                                        <p:cTn id="32" dur="11000" fill="hold"/>
                                        <p:tgtEl>
                                          <p:spTgt spid="48"/>
                                        </p:tgtEl>
                                        <p:attrNameLst>
                                          <p:attrName>ppt_x</p:attrName>
                                          <p:attrName>ppt_y</p:attrName>
                                        </p:attrNameLst>
                                      </p:cBhvr>
                                    </p:animMotion>
                                  </p:childTnLst>
                                </p:cTn>
                              </p:par>
                              <p:par>
                                <p:cTn id="33" presetID="0" presetClass="path" presetSubtype="0" fill="hold" nodeType="withEffect">
                                  <p:stCondLst>
                                    <p:cond delay="2750"/>
                                  </p:stCondLst>
                                  <p:childTnLst>
                                    <p:animMotion origin="layout" path="M 0.00677 -0.0105 L 0.00677 -0.0105 C -0.00087 0.01944 0.00451 0.00092 -0.00469 0.02654 C -0.0059 0.02963 -0.00677 0.03302 -0.00781 0.0358 C -0.00851 0.03796 -0.00903 0.03981 -0.0099 0.04135 C -0.01129 0.04382 -0.01267 0.04506 -0.01406 0.04691 C -0.01528 0.05185 -0.01945 0.06882 -0.02135 0.07469 C -0.0224 0.07747 -0.02361 0.07963 -0.02448 0.08209 C -0.02535 0.08395 -0.02587 0.0858 -0.02656 0.08765 C -0.02622 0.12098 -0.02708 0.15463 -0.02552 0.18734 C -0.02535 0.19382 -0.02049 0.19969 -0.01823 0.20401 C -0.01615 0.20895 -0.01615 0.20956 -0.0151 0.21512 C -0.01545 0.22314 -0.0151 0.23148 -0.01615 0.23919 C -0.01649 0.24135 -0.0184 0.24166 -0.01927 0.2429 C -0.02049 0.24475 -0.02135 0.24691 -0.0224 0.24845 C -0.02379 0.25061 -0.02535 0.25216 -0.02656 0.25401 C -0.03195 0.26234 -0.02778 0.25679 -0.03177 0.26512 C -0.03281 0.26728 -0.0342 0.26882 -0.0349 0.27068 C -0.03594 0.27314 -0.03646 0.27561 -0.03698 0.27808 C -0.03837 0.28364 -0.03767 0.28487 -0.0401 0.28919 C -0.04115 0.29105 -0.04219 0.29166 -0.04323 0.2929 C -0.04392 0.29475 -0.04445 0.29722 -0.04531 0.29845 C -0.04722 0.30154 -0.04983 0.30277 -0.05156 0.30586 L -0.05469 0.31142 C -0.05747 0.32561 -0.05382 0.30833 -0.05781 0.32253 C -0.05885 0.32592 -0.05938 0.3324 -0.0599 0.33549 C -0.06094 0.34135 -0.0625 0.3466 -0.06302 0.35216 C -0.06441 0.36358 -0.06354 0.35864 -0.0651 0.36697 C -0.06545 0.37993 -0.06563 0.39321 -0.06615 0.40586 C -0.06632 0.40802 -0.06684 0.40987 -0.06719 0.41142 C -0.07014 0.42191 -0.06927 0.41327 -0.07552 0.42438 C -0.07986 0.43209 -0.08142 0.43364 -0.08385 0.44105 C -0.08472 0.44351 -0.08524 0.44629 -0.08594 0.44845 C -0.09132 0.4645 -0.08906 0.45401 -0.09115 0.46512 C -0.0908 0.46759 -0.08802 0.48333 -0.08802 0.48734 C -0.08802 0.49568 -0.08785 0.5037 -0.09115 0.50956 C -0.09219 0.51142 -0.0934 0.51203 -0.09427 0.51327 C -0.09774 0.51759 -0.09879 0.51821 -0.10052 0.52438 C -0.10104 0.52623 -0.10139 0.52808 -0.10156 0.52993 C -0.10504 0.55154 -0.09965 0.51944 -0.10365 0.54845 C -0.10417 0.55247 -0.10504 0.55586 -0.10573 0.55956 C -0.10695 0.56605 -0.10695 0.56635 -0.10885 0.57253 C -0.10955 0.57469 -0.11042 0.57623 -0.11094 0.57808 C -0.11181 0.58148 -0.11267 0.58827 -0.11302 0.59105 L -0.11615 0.60771 L -0.11719 0.61327 C -0.11684 0.61944 -0.11701 0.62592 -0.11615 0.63179 C -0.11563 0.63765 -0.11302 0.64845 -0.11302 0.64845 C -0.11372 0.65586 -0.11372 0.66388 -0.1151 0.67068 C -0.11563 0.67253 -0.11736 0.67191 -0.11823 0.67253 C -0.11945 0.67376 -0.12031 0.67561 -0.12135 0.67623 C -0.12344 0.67808 -0.12587 0.67777 -0.1276 0.67993 L -0.13385 0.68734 C -0.1382 0.69259 -0.14115 0.69537 -0.14427 0.70401 C -0.15035 0.72006 -0.14323 0.7 -0.1474 0.71512 C -0.14809 0.71728 -0.14896 0.71882 -0.14948 0.72068 C -0.15052 0.72438 -0.15087 0.72808 -0.15156 0.73179 C -0.15191 0.73364 -0.15243 0.73549 -0.1526 0.73734 C -0.15295 0.73981 -0.15313 0.74259 -0.15365 0.74475 C -0.15434 0.74753 -0.15504 0.74969 -0.15573 0.75216 C -0.15608 0.77808 -0.15556 0.80432 -0.15677 0.82993 C -0.15695 0.83271 -0.15972 0.83302 -0.1599 0.83549 C -0.16129 0.85339 -0.15972 0.8716 -0.16094 0.88919 C -0.16111 0.89166 -0.1632 0.89166 -0.16406 0.8929 C -0.16563 0.89475 -0.16684 0.89691 -0.16823 0.89845 C -0.16927 0.9 -0.17049 0.90092 -0.17135 0.90216 C -0.17951 0.91419 -0.16997 0.90247 -0.1776 0.91142 C -0.1783 0.91327 -0.17917 0.91512 -0.17969 0.91697 C -0.18351 0.93024 -0.17986 0.96327 -0.17969 0.96512 C -0.18004 0.98117 -0.17951 0.99753 -0.18073 1.01327 C -0.1809 1.01574 -0.18299 1.01543 -0.18385 1.01697 C -0.18472 1.01882 -0.18524 1.02068 -0.18594 1.02253 C -0.18629 1.02808 -0.18681 1.03364 -0.18698 1.03919 C -0.1875 1.05401 -0.18733 1.06913 -0.18802 1.08364 C -0.18837 1.08765 -0.18889 1.09166 -0.1901 1.09475 C -0.1908 1.0966 -0.19167 1.09845 -0.19219 1.1003 C -0.19549 1.11049 -0.19254 1.10586 -0.1974 1.11142 C -0.20087 1.12623 -0.2007 1.12222 -0.19844 1.14475 C -0.19792 1.15 -0.19549 1.15339 -0.19427 1.15771 C -0.19392 1.15956 -0.19358 1.16142 -0.19323 1.16327 C -0.19254 1.17129 -0.19132 1.17932 -0.19115 1.18734 C -0.19097 1.19691 -0.19167 1.20617 -0.19219 1.21512 C -0.19271 1.22098 -0.19375 1.22623 -0.19427 1.23179 C -0.19549 1.24105 -0.19549 1.24259 -0.19635 1.25216 C -0.19306 1.25648 -0.19462 1.25586 -0.19219 1.25586 " pathEditMode="relative" ptsTypes="AAAAAAAAAAAAAAAAAAAAAAAAAAAAAAAAAAAAAAAAAAAAAAAAAAAAAAAAAAAAAAAAAAAAAAAAAAAAAAAAAAAAA">
                                      <p:cBhvr>
                                        <p:cTn id="34" dur="9750" fill="hold"/>
                                        <p:tgtEl>
                                          <p:spTgt spid="36"/>
                                        </p:tgtEl>
                                        <p:attrNameLst>
                                          <p:attrName>ppt_x</p:attrName>
                                          <p:attrName>ppt_y</p:attrName>
                                        </p:attrNameLst>
                                      </p:cBhvr>
                                    </p:animMotion>
                                  </p:childTnLst>
                                </p:cTn>
                              </p:par>
                              <p:par>
                                <p:cTn id="35" presetID="0" presetClass="path" presetSubtype="0" fill="hold" nodeType="withEffect">
                                  <p:stCondLst>
                                    <p:cond delay="800"/>
                                  </p:stCondLst>
                                  <p:childTnLst>
                                    <p:animMotion origin="layout" path="M 0.00747 0.00556 L 0.00747 0.00556 C 0.00539 0.00834 -0.00173 0.01667 -0.00399 0.02223 C -0.0092 0.03457 -0.00555 0.03087 -0.01128 0.0463 C -0.01198 0.04815 -0.01284 0.05 -0.01336 0.05186 C -0.01701 0.06451 -0.01111 0.0497 -0.01649 0.06482 C -0.01927 0.07254 -0.02239 0.07963 -0.02482 0.08704 C -0.02552 0.08889 -0.02552 0.09105 -0.02586 0.0926 C -0.02986 0.10865 -0.02656 0.0926 -0.02899 0.10556 C -0.02899 0.10803 -0.02812 0.12655 -0.02691 0.13149 C -0.02656 0.13365 -0.02552 0.13519 -0.02482 0.13704 C -0.02517 0.14568 -0.02482 0.15463 -0.02586 0.16297 C -0.02639 0.16605 -0.02795 0.16821 -0.02899 0.17037 C -0.03177 0.17593 -0.03211 0.17593 -0.03524 0.17963 C -0.03593 0.18149 -0.0368 0.18334 -0.03732 0.18519 C -0.03923 0.19167 -0.03906 0.20186 -0.03941 0.2071 C -0.0401 0.21482 -0.0408 0.22223 -0.04149 0.22963 C -0.04184 0.23149 -0.04236 0.23303 -0.04253 0.23488 C -0.04305 0.23766 -0.04392 0.24507 -0.04461 0.24784 C -0.04809 0.26019 -0.04878 0.24877 -0.05191 0.27192 C -0.05434 0.28889 -0.05312 0.2821 -0.05503 0.29229 C -0.05468 0.29815 -0.05451 0.30371 -0.05399 0.30926 C -0.05364 0.3142 -0.04913 0.32871 -0.04878 0.32933 C -0.04809 0.33149 -0.04739 0.33303 -0.0467 0.33519 C -0.04097 0.35587 -0.05225 0.32099 -0.04357 0.34815 C -0.04305 0.35 -0.04218 0.35155 -0.04149 0.3534 C -0.03923 0.36173 -0.04201 0.35741 -0.03836 0.36667 C -0.03767 0.36852 -0.03628 0.37007 -0.03524 0.37223 C -0.03489 0.37408 -0.03472 0.37593 -0.0342 0.37747 C -0.03368 0.37963 -0.03246 0.38087 -0.03211 0.38334 C -0.03194 0.38581 -0.03281 0.38797 -0.03316 0.39075 C -0.0335 0.41358 -0.03333 0.43642 -0.0342 0.45896 C -0.03437 0.46142 -0.03576 0.46266 -0.03628 0.46451 C -0.03715 0.4676 -0.0375 0.47099 -0.03836 0.47377 C -0.03958 0.47778 -0.04149 0.48118 -0.04253 0.48519 C -0.04323 0.48735 -0.04392 0.49013 -0.04461 0.4926 C -0.046 0.4963 -0.04878 0.50371 -0.04878 0.50371 C -0.05156 0.52315 -0.04791 0.5 -0.05191 0.51667 C -0.05295 0.52007 -0.05399 0.52778 -0.05399 0.52778 C -0.05382 0.53303 -0.05382 0.54352 -0.05191 0.55 C -0.05139 0.55186 -0.05052 0.5534 -0.04982 0.55525 C -0.05069 0.56081 -0.05173 0.57192 -0.05503 0.57408 L -0.05816 0.57593 C -0.0585 0.57747 -0.05902 0.57933 -0.0592 0.58149 C -0.06041 0.58858 -0.06041 0.5963 -0.06336 0.60155 C -0.06441 0.6034 -0.06545 0.60433 -0.06649 0.60556 C -0.06718 0.60741 -0.0684 0.60896 -0.06857 0.61081 C -0.06944 0.61575 -0.06927 0.62099 -0.06961 0.62562 C -0.06996 0.62778 -0.07048 0.62933 -0.07066 0.63149 C -0.0717 0.63766 -0.07152 0.64044 -0.07378 0.6463 C -0.07812 0.65649 -0.07604 0.64692 -0.08107 0.65741 C -0.08281 0.6605 -0.08524 0.66821 -0.08524 0.66821 C -0.08559 0.67099 -0.08576 0.67346 -0.08628 0.67593 C -0.0868 0.67778 -0.08784 0.67933 -0.08836 0.68149 C -0.08958 0.68426 -0.09045 0.68766 -0.09149 0.69075 C -0.09288 0.69445 -0.09566 0.70155 -0.09566 0.70155 C -0.096 0.71636 -0.09583 0.73149 -0.0967 0.7463 C -0.09687 0.74846 -0.09843 0.7497 -0.09878 0.75186 C -0.09948 0.75463 -0.09913 0.75803 -0.09982 0.76112 C -0.10086 0.76451 -0.10434 0.76821 -0.10607 0.77037 C -0.10677 0.7747 -0.10746 0.77902 -0.10816 0.78303 C -0.1085 0.78519 -0.1092 0.78673 -0.1092 0.78858 C -0.1092 0.80433 -0.11389 0.8284 -0.10503 0.83889 C -0.10416 0.83982 -0.10295 0.83982 -0.10191 0.84044 C -0.10156 0.8426 -0.10156 0.84445 -0.10086 0.84599 C -0.10017 0.84877 -0.09861 0.85062 -0.09774 0.85371 C -0.09705 0.85649 -0.09722 0.85988 -0.0967 0.86297 C -0.09652 0.86544 -0.096 0.8676 -0.09566 0.87007 C -0.096 0.87933 -0.09618 0.88889 -0.0967 0.89815 C -0.09705 0.90309 -0.09861 0.90618 -0.10086 0.90896 C -0.10225 0.91081 -0.10364 0.91173 -0.10503 0.91266 C -0.10677 0.9142 -0.1085 0.91544 -0.11024 0.91667 C -0.11163 0.91729 -0.11302 0.9176 -0.11441 0.91821 C -0.11545 0.91976 -0.11649 0.92099 -0.11753 0.92223 C -0.11857 0.92284 -0.11979 0.92284 -0.12066 0.92377 C -0.12205 0.92531 -0.12274 0.92778 -0.12378 0.92963 C -0.12482 0.93087 -0.12586 0.9321 -0.12691 0.93303 C -0.12795 0.93982 -0.12882 0.94136 -0.12691 0.94784 C -0.12586 0.95186 -0.12274 0.95926 -0.12274 0.95926 C -0.12066 0.9784 -0.12083 0.97346 -0.12274 1.00525 C -0.12326 1.01297 -0.12534 1.01729 -0.12691 1.02377 C -0.12743 1.02562 -0.1276 1.02778 -0.12795 1.02933 C -0.12864 1.0321 -0.12951 1.03426 -0.13003 1.03704 C -0.13211 1.04568 -0.13194 1.04908 -0.1342 1.0571 C -0.13489 1.05926 -0.13576 1.06081 -0.13628 1.06266 C -0.1375 1.06698 -0.13836 1.07161 -0.13941 1.07593 C -0.14045 1.07902 -0.14166 1.08179 -0.14253 1.08519 C -0.1434 1.08797 -0.14392 1.09136 -0.14461 1.09445 C -0.14531 1.0963 -0.14618 1.09784 -0.1467 1.1 C -0.14722 1.10155 -0.14739 1.10371 -0.14774 1.10525 C -0.15364 1.12809 -0.15052 1.11266 -0.15295 1.12562 C -0.1526 1.13797 -0.1526 1.15062 -0.15191 1.16297 C -0.15191 1.16605 -0.15052 1.17254 -0.14982 1.17593 C -0.15017 1.17902 -0.15017 1.1821 -0.15086 1.18519 C -0.15243 1.19044 -0.15434 1.19075 -0.15711 1.19229 C -0.16059 1.21081 -0.15486 1.18272 -0.16128 1.2034 C -0.16406 1.21235 -0.16284 1.21389 -0.16441 1.22192 C -0.1658 1.2284 -0.16753 1.23272 -0.17066 1.23673 C -0.1717 1.23797 -0.17291 1.23797 -0.17378 1.23889 C -0.17569 1.23982 -0.17725 1.24136 -0.17899 1.24229 C -0.18038 1.24507 -0.18159 1.24784 -0.18316 1.2497 C -0.1842 1.25093 -0.18559 1.25031 -0.18628 1.25155 C -0.18802 1.25433 -0.18906 1.25803 -0.19045 1.26081 C -0.19149 1.26297 -0.19253 1.26482 -0.19357 1.26636 C -0.19461 1.26791 -0.196 1.26852 -0.1967 1.27037 C -0.19722 1.2713 -0.1967 1.27284 -0.1967 1.27377 " pathEditMode="relative" ptsTypes="AAAAAAAAAAAAAAAAAAAAAAAAAAAAAAAAAAAAAAAAAAAAAAAAAAAAAAAAAAAAAAAAAAAAAAAAAAAAAAAAAAAAAAAAAAAAAAAAAAAAAAAAAA">
                                      <p:cBhvr>
                                        <p:cTn id="36" dur="10250" fill="hold"/>
                                        <p:tgtEl>
                                          <p:spTgt spid="41"/>
                                        </p:tgtEl>
                                        <p:attrNameLst>
                                          <p:attrName>ppt_x</p:attrName>
                                          <p:attrName>ppt_y</p:attrName>
                                        </p:attrNameLst>
                                      </p:cBhvr>
                                    </p:animMotion>
                                  </p:childTnLst>
                                </p:cTn>
                              </p:par>
                              <p:par>
                                <p:cTn id="37" presetID="0" presetClass="path" presetSubtype="0" fill="hold" nodeType="withEffect">
                                  <p:stCondLst>
                                    <p:cond delay="0"/>
                                  </p:stCondLst>
                                  <p:childTnLst>
                                    <p:animMotion origin="layout" path="M 0.00052 0.00834 L 0.00052 0.00834 L -0.00885 0.01759 C -0.01024 0.01914 -0.01181 0.02006 -0.01302 0.0213 C -0.01458 0.02315 -0.0158 0.02531 -0.01719 0.02685 C -0.02031 0.03087 -0.02344 0.03426 -0.02656 0.03797 L -0.02969 0.04167 C -0.03472 0.05926 -0.02847 0.03766 -0.0349 0.05834 C -0.03576 0.0605 -0.03629 0.06327 -0.03698 0.06543 C -0.03767 0.06759 -0.03872 0.06914 -0.03906 0.07099 C -0.0401 0.07469 -0.03993 0.07901 -0.04115 0.08241 C -0.04601 0.09506 -0.04462 0.0892 -0.04635 0.09908 C -0.04601 0.10772 -0.04601 0.11636 -0.04531 0.125 C -0.04531 0.12685 -0.04445 0.1284 -0.04427 0.13056 C -0.04375 0.14259 -0.0441 0.15525 -0.04323 0.16759 C -0.04306 0.17099 -0.0408 0.17963 -0.0401 0.18426 C -0.03854 0.19506 -0.03941 0.18889 -0.03802 0.20278 C -0.03837 0.2071 -0.0382 0.21142 -0.03906 0.21543 C -0.03976 0.2179 -0.04132 0.21914 -0.04219 0.2213 C -0.04913 0.2358 -0.03906 0.21821 -0.0474 0.23056 C -0.04861 0.2321 -0.04965 0.23395 -0.05052 0.2358 C -0.05347 0.24136 -0.0559 0.24722 -0.05885 0.25278 C -0.0599 0.25432 -0.06094 0.25525 -0.06198 0.25618 C -0.06267 0.25803 -0.06354 0.25988 -0.06406 0.26173 C -0.06458 0.26358 -0.06458 0.26605 -0.0651 0.26759 C -0.06701 0.27161 -0.07135 0.2784 -0.07135 0.2784 C -0.07361 0.29383 -0.07101 0.27871 -0.07448 0.29167 C -0.07535 0.29445 -0.07622 0.30185 -0.07656 0.30463 C -0.07691 0.30648 -0.07726 0.30834 -0.0776 0.30988 C -0.07795 0.31574 -0.07813 0.3213 -0.07865 0.32685 C -0.08351 0.37438 -0.07847 0.30895 -0.08177 0.35648 C -0.08142 0.36759 -0.08142 0.37871 -0.08073 0.38982 C -0.08038 0.39784 -0.07986 0.39784 -0.07865 0.40463 C -0.0783 0.40679 -0.07795 0.40957 -0.0776 0.41204 C -0.07726 0.41759 -0.07639 0.42284 -0.07656 0.42871 C -0.07691 0.43766 -0.07865 0.43858 -0.08073 0.44537 C -0.08281 0.45155 -0.08281 0.45185 -0.08385 0.45834 C -0.0842 0.47531 -0.08438 0.4929 -0.0849 0.51019 C -0.08507 0.51204 -0.08576 0.51358 -0.08594 0.51543 C -0.08646 0.5179 -0.08663 0.52068 -0.08698 0.52315 C -0.08837 0.53148 -0.08941 0.53148 -0.0901 0.54352 C -0.09028 0.54414 -0.0908 0.55988 -0.09219 0.56358 C -0.09306 0.56605 -0.09445 0.56729 -0.09531 0.56945 C -0.09618 0.57099 -0.0967 0.57315 -0.0974 0.575 C -0.09948 0.57932 -0.10156 0.58364 -0.10365 0.58766 C -0.10469 0.58982 -0.1059 0.59136 -0.10677 0.59352 C -0.10972 0.59969 -0.10833 0.59969 -0.11198 0.60618 C -0.11285 0.60803 -0.11406 0.60895 -0.1151 0.61019 C -0.1158 0.61173 -0.11632 0.61389 -0.11719 0.61574 C -0.12031 0.62099 -0.12014 0.61821 -0.12344 0.62099 C -0.12465 0.62222 -0.12552 0.62377 -0.12656 0.625 C -0.1276 0.62562 -0.12882 0.62562 -0.12969 0.62655 C -0.13212 0.62901 -0.13576 0.6355 -0.13906 0.6358 C -0.14531 0.63704 -0.15156 0.63704 -0.15781 0.63766 C -0.1592 0.63827 -0.16076 0.63827 -0.16198 0.63982 C -0.16302 0.64105 -0.1632 0.64352 -0.16406 0.64537 C -0.16493 0.64692 -0.16632 0.64753 -0.16719 0.64908 C -0.1724 0.65648 -0.16806 0.65309 -0.17344 0.65648 C -0.17587 0.6605 -0.17882 0.6642 -0.18073 0.66945 C -0.18385 0.67747 -0.18212 0.67315 -0.18594 0.68241 C -0.18629 0.68395 -0.18663 0.68611 -0.18698 0.68797 C -0.18854 0.69383 -0.19097 0.69722 -0.18802 0.70463 C -0.18715 0.70679 -0.18524 0.7071 -0.18385 0.70803 C -0.18177 0.71389 -0.17708 0.72068 -0.18073 0.72871 C -0.18177 0.73056 -0.18351 0.72963 -0.1849 0.73056 C -0.18594 0.73087 -0.18698 0.73148 -0.18802 0.7321 C -0.18906 0.73426 -0.1901 0.73611 -0.19115 0.73797 C -0.19219 0.7392 -0.1934 0.73982 -0.19427 0.74136 C -0.19896 0.75 -0.1934 0.74537 -0.19948 0.74877 C -0.20017 0.75093 -0.20104 0.75247 -0.20156 0.75463 C -0.20243 0.75803 -0.20243 0.76235 -0.20365 0.76543 C -0.20469 0.76821 -0.20642 0.76945 -0.20781 0.7713 C -0.20885 0.77253 -0.2099 0.77377 -0.21094 0.775 C -0.2125 0.77624 -0.21684 0.77809 -0.21823 0.77871 C -0.21927 0.78025 -0.22031 0.78241 -0.22135 0.78426 C -0.2224 0.7855 -0.22379 0.78611 -0.22448 0.78797 C -0.22517 0.7892 -0.22517 0.79167 -0.22552 0.79352 C -0.22587 0.81173 -0.22778 0.87408 -0.22552 0.89506 C -0.22535 0.89784 -0.22274 0.89661 -0.22135 0.89722 C -0.21997 0.89969 -0.21875 0.90216 -0.21719 0.90463 C -0.21632 0.90587 -0.21493 0.90648 -0.21406 0.90834 C -0.21337 0.90957 -0.21337 0.91173 -0.21302 0.91389 C -0.21337 0.91976 -0.21337 0.92624 -0.21406 0.93241 C -0.21441 0.93457 -0.21563 0.9358 -0.21615 0.93797 C -0.21667 0.93951 -0.21684 0.94167 -0.21719 0.94321 C -0.21823 0.94846 -0.2191 0.9534 -0.22031 0.95803 C -0.22083 0.96019 -0.22188 0.96173 -0.2224 0.96389 C -0.22413 0.96976 -0.22257 0.96945 -0.22552 0.97469 C -0.22674 0.97716 -0.2283 0.97871 -0.22969 0.98056 C -0.22934 0.9892 -0.22917 0.99784 -0.22865 1.00648 C -0.2283 1.01235 -0.22708 1.01204 -0.22552 1.01729 C -0.22465 1.02037 -0.22396 1.02778 -0.22344 1.03056 C -0.22049 1.04908 -0.22465 1.02006 -0.22135 1.04352 C -0.2217 1.0534 -0.22153 1.06327 -0.2224 1.07284 C -0.22257 1.07531 -0.22379 1.07685 -0.22448 1.07871 C -0.23021 1.09074 -0.22483 1.07747 -0.23177 1.08951 C -0.23264 1.09136 -0.23333 1.09321 -0.23385 1.09537 C -0.2349 1.09846 -0.23663 1.10432 -0.23698 1.10834 C -0.23715 1.10926 -0.23698 1.1108 -0.23698 1.11173 " pathEditMode="relative" ptsTypes="AAAAAAAAAAAAAAAAAAAAAAAAAAAAAAAAAAAAAAAAAAAAAAAAAAAAAAAAAAAAAAAAAAAAAAAAAAAAAAAAAAAAAAAAAAAAAAAAAAA">
                                      <p:cBhvr>
                                        <p:cTn id="38" dur="10250" fill="hold"/>
                                        <p:tgtEl>
                                          <p:spTgt spid="62"/>
                                        </p:tgtEl>
                                        <p:attrNameLst>
                                          <p:attrName>ppt_x</p:attrName>
                                          <p:attrName>ppt_y</p:attrName>
                                        </p:attrNameLst>
                                      </p:cBhvr>
                                    </p:animMotion>
                                  </p:childTnLst>
                                </p:cTn>
                              </p:par>
                              <p:par>
                                <p:cTn id="39" presetID="0" presetClass="path" presetSubtype="0" fill="hold" nodeType="withEffect">
                                  <p:stCondLst>
                                    <p:cond delay="3500"/>
                                  </p:stCondLst>
                                  <p:childTnLst>
                                    <p:animMotion origin="layout" path="M 0.00208 0.00154 L 0.00208 0.00154 C 3.33333E-6 0.0071 -0.00209 0.01296 -0.00417 0.01821 C -0.00608 0.02253 -0.0092 0.02654 -0.01146 0.02932 C -0.0125 0.03086 -0.01354 0.0321 -0.01459 0.03302 C -0.01563 0.03395 -0.01684 0.03395 -0.01771 0.03519 C -0.01997 0.03735 -0.02396 0.04228 -0.02396 0.04228 C -0.02466 0.04414 -0.02552 0.04599 -0.02604 0.04784 C -0.02691 0.05062 -0.02795 0.05864 -0.02813 0.06111 C -0.02848 0.06574 -0.02865 0.0858 -0.03125 0.09228 L -0.03438 0.09969 C -0.0349 0.10309 -0.03542 0.11049 -0.03646 0.11451 C -0.03716 0.11636 -0.03785 0.11821 -0.03854 0.12006 C -0.0415 0.14012 -0.0375 0.10802 -0.03854 0.14599 C -0.03872 0.14938 -0.04063 0.16358 -0.04271 0.16821 C -0.04358 0.16975 -0.04497 0.17037 -0.04584 0.17191 C -0.0474 0.17407 -0.04861 0.17685 -0.05 0.17932 C -0.05278 0.19815 -0.04914 0.17469 -0.05313 0.19414 C -0.05591 0.20648 -0.05278 0.19661 -0.05521 0.2071 C -0.05591 0.20957 -0.05677 0.21173 -0.05729 0.21451 C -0.05886 0.22006 -0.05886 0.22438 -0.05938 0.23117 C -0.05955 0.23272 -0.05712 0.26944 -0.0625 0.28117 C -0.06337 0.28272 -0.06459 0.28364 -0.06563 0.28488 C -0.06789 0.29043 -0.06806 0.29228 -0.07188 0.29599 C -0.07396 0.29753 -0.07639 0.29722 -0.07813 0.29969 C -0.08247 0.30463 -0.08021 0.30278 -0.08542 0.30525 C -0.08785 0.30772 -0.09011 0.31019 -0.09167 0.31451 C -0.09236 0.31605 -0.09236 0.31821 -0.09271 0.32006 C -0.09479 0.3287 -0.09584 0.32778 -0.09688 0.33858 C -0.09723 0.34167 -0.09757 0.34475 -0.09792 0.34784 C -0.09861 0.35278 -0.09948 0.35741 -0.1 0.36265 C -0.10052 0.36605 -0.1007 0.37006 -0.10104 0.37377 C -0.10209 0.38056 -0.10261 0.37994 -0.10521 0.38673 C -0.10782 0.39259 -0.10747 0.39228 -0.10938 0.39969 C -0.10973 0.41019 -0.1099 0.42068 -0.11042 0.43117 C -0.11059 0.43302 -0.11059 0.43549 -0.11146 0.43673 C -0.11337 0.43889 -0.11563 0.4392 -0.11771 0.44043 C -0.12848 0.44506 -0.11528 0.43858 -0.12604 0.44599 C -0.12986 0.44846 -0.13108 0.44661 -0.13438 0.45154 C -0.13681 0.45463 -0.13854 0.45895 -0.14063 0.46265 C -0.14202 0.46512 -0.14323 0.4679 -0.14479 0.47006 C -0.14584 0.4713 -0.14688 0.47253 -0.14792 0.47377 C -0.14948 0.475 -0.15417 0.47685 -0.15521 0.47747 C -0.15973 0.47901 -0.16216 0.47963 -0.16667 0.48117 C -0.16771 0.48241 -0.16893 0.48302 -0.16979 0.48488 C -0.17084 0.48642 -0.17153 0.48827 -0.17188 0.49043 C -0.17275 0.49352 -0.17361 0.50401 -0.17396 0.5071 C -0.17466 0.51019 -0.17552 0.51296 -0.17604 0.51636 C -0.17657 0.5179 -0.17674 0.52006 -0.17709 0.52191 C -0.17778 0.52377 -0.17865 0.52531 -0.17917 0.52747 C -0.18056 0.53179 -0.17986 0.53488 -0.18229 0.53858 C -0.18316 0.53951 -0.18438 0.53981 -0.18542 0.54043 C -0.18854 0.56667 -0.18542 0.53642 -0.18542 0.59599 C -0.18542 0.59815 -0.18611 0.61019 -0.18854 0.61265 C -0.19045 0.6142 -0.19289 0.61358 -0.19479 0.61451 C -0.20035 0.61605 -0.19896 0.61543 -0.20313 0.61821 C -0.20764 0.62994 -0.20452 0.61944 -0.20625 0.64414 C -0.20712 0.65463 -0.20712 0.64846 -0.20938 0.6571 C -0.21302 0.66975 -0.20573 0.65401 -0.21563 0.67191 C -0.21598 0.67377 -0.21667 0.67531 -0.21667 0.67747 C -0.21667 0.70494 -0.21736 0.7 -0.21459 0.71451 C -0.21424 0.72006 -0.21441 0.72562 -0.21354 0.73117 C -0.21181 0.74537 -0.2066 0.73333 -0.2125 0.75895 C -0.2132 0.76111 -0.21528 0.76019 -0.21667 0.7608 C -0.22084 0.76142 -0.225 0.76204 -0.22917 0.76265 C -0.23143 0.76389 -0.2349 0.76543 -0.23646 0.76821 C -0.2375 0.76944 -0.23768 0.77191 -0.23854 0.77377 C -0.24098 0.77778 -0.24271 0.77778 -0.24584 0.77932 C -0.24688 0.78117 -0.24827 0.78272 -0.24896 0.78488 C -0.25035 0.78796 -0.25157 0.79352 -0.25209 0.79784 C -0.25261 0.8 -0.25278 0.80278 -0.25313 0.80525 C -0.25417 0.8108 -0.25625 0.82191 -0.25625 0.82191 C -0.25677 0.82654 -0.25695 0.83519 -0.25834 0.84043 C -0.25903 0.84228 -0.25973 0.84414 -0.26042 0.84599 C -0.25886 0.85617 -0.25938 0.85895 -0.25521 0.86636 C -0.25434 0.8679 -0.25313 0.86883 -0.25209 0.87006 C -0.25139 0.87191 -0.25052 0.87346 -0.25 0.87562 C -0.24914 0.87901 -0.24792 0.88673 -0.24792 0.88673 C -0.24896 0.88735 -0.25018 0.88735 -0.25104 0.88858 C -0.25278 0.89043 -0.25539 0.89599 -0.25625 0.89969 C -0.25677 0.90123 -0.25677 0.9034 -0.25729 0.90525 C -0.2592 0.91111 -0.26094 0.91235 -0.2625 0.91821 C -0.26302 0.91975 -0.2632 0.92191 -0.26354 0.92377 C -0.26771 0.93796 -0.26407 0.92068 -0.26667 0.93488 C -0.26771 0.96358 -0.26493 0.98519 -0.26979 1.00895 C -0.27049 1.01204 -0.27118 1.01512 -0.27188 1.01821 C -0.27414 1.04599 -0.27188 1.01481 -0.27396 1.0608 C -0.27466 1.07284 -0.27379 1.075 -0.27813 1.08302 C -0.27917 1.08457 -0.28021 1.08549 -0.28125 1.08673 C -0.2816 1.08858 -0.28229 1.09012 -0.28229 1.09228 C -0.28229 1.0963 -0.28212 1.10988 -0.28021 1.11636 C -0.27969 1.11821 -0.27882 1.12006 -0.27813 1.12191 C -0.27657 1.13302 -0.27761 1.12685 -0.275 1.14043 C -0.27466 1.14228 -0.27396 1.14383 -0.27396 1.14599 L -0.27396 1.15525 " pathEditMode="relative" ptsTypes="AAAAAAAAAAAAAAAAAAAAAAAAAAAAAAAAAAAAAAAAAAAAAAAAAAAAAAAAAAAAAAAAAAAAAAAAAAAAAAAAAAAAAAAAAAAAAAA">
                                      <p:cBhvr>
                                        <p:cTn id="40" dur="10250" fill="hold"/>
                                        <p:tgtEl>
                                          <p:spTgt spid="60"/>
                                        </p:tgtEl>
                                        <p:attrNameLst>
                                          <p:attrName>ppt_x</p:attrName>
                                          <p:attrName>ppt_y</p:attrName>
                                        </p:attrNameLst>
                                      </p:cBhvr>
                                    </p:animMotion>
                                  </p:childTnLst>
                                </p:cTn>
                              </p:par>
                              <p:par>
                                <p:cTn id="41" presetID="0" presetClass="path" presetSubtype="0" fill="hold" nodeType="withEffect">
                                  <p:stCondLst>
                                    <p:cond delay="5700"/>
                                  </p:stCondLst>
                                  <p:childTnLst>
                                    <p:animMotion origin="layout" path="M 0.0007 -0.00493 L 0.0007 -0.00493 C -0.00312 -0.00246 -0.00712 -0.0003 -0.01076 0.00247 C -0.01389 0.00494 -0.01562 0.00988 -0.01805 0.01358 C -0.02604 0.02593 -0.01875 0.01112 -0.02639 0.0284 C -0.02674 0.03025 -0.0276 0.0321 -0.02743 0.03395 C -0.02726 0.04044 -0.02604 0.0463 -0.02535 0.05247 C -0.025 0.05618 -0.02465 0.05988 -0.0243 0.06358 C -0.02639 0.07871 -0.02396 0.09321 -0.0316 0.09877 C -0.03299 0.1 -0.03455 0.1 -0.03576 0.10062 C -0.03802 0.10186 -0.03993 0.1034 -0.04201 0.10433 C -0.0434 0.10494 -0.04496 0.10556 -0.04618 0.10618 C -0.0474 0.10679 -0.04826 0.10772 -0.0493 0.10803 C -0.05104 0.10895 -0.05295 0.10926 -0.05451 0.10988 C -0.05677 0.11112 -0.06076 0.11358 -0.06076 0.11358 C -0.06996 0.12963 -0.05833 0.11019 -0.06701 0.12284 C -0.07691 0.13704 -0.06076 0.11729 -0.07639 0.1355 L -0.08264 0.14291 L -0.08576 0.14661 C -0.08542 0.15247 -0.08542 0.15803 -0.08472 0.16358 C -0.08437 0.16667 -0.08333 0.16945 -0.08264 0.17284 C -0.08229 0.17562 -0.08194 0.17871 -0.0816 0.18179 C -0.08194 0.19136 -0.08212 0.20062 -0.08264 0.20988 C -0.08281 0.21173 -0.08385 0.21328 -0.08368 0.21513 C -0.08299 0.22933 -0.08194 0.22747 -0.07951 0.23766 C -0.07917 0.2392 -0.07882 0.24136 -0.07847 0.24321 C -0.07882 0.24568 -0.07847 0.24877 -0.07951 0.25062 C -0.08125 0.25309 -0.08368 0.25309 -0.08576 0.25433 C -0.08871 0.25587 -0.09444 0.25895 -0.09722 0.26173 C -0.09913 0.26328 -0.10069 0.26605 -0.10243 0.26729 C -0.10451 0.26852 -0.1066 0.26852 -0.10868 0.26914 C -0.11007 0.27099 -0.11146 0.27315 -0.11285 0.2747 C -0.11389 0.27562 -0.1151 0.27562 -0.11597 0.27624 C -0.11753 0.27747 -0.11875 0.27902 -0.12014 0.27994 C -0.12361 0.29815 -0.12187 0.28766 -0.12326 0.32655 C -0.12361 0.33581 -0.12396 0.34507 -0.1243 0.35433 C -0.12465 0.3605 -0.12465 0.36667 -0.12535 0.37284 C -0.12587 0.37593 -0.1309 0.38488 -0.1316 0.38581 C -0.13281 0.38704 -0.13437 0.38704 -0.13576 0.38766 C -0.1368 0.38889 -0.13802 0.38982 -0.13889 0.39105 C -0.14184 0.39476 -0.14444 0.39877 -0.14722 0.40247 C -0.1493 0.40494 -0.15121 0.40834 -0.15347 0.40988 L -0.15972 0.41328 C -0.16111 0.41605 -0.16233 0.41883 -0.16389 0.42068 C -0.16528 0.42254 -0.16701 0.42284 -0.16805 0.4247 C -0.16944 0.42655 -0.17014 0.42963 -0.17118 0.4321 C -0.17153 0.43395 -0.1724 0.4355 -0.17222 0.43766 C -0.1717 0.45186 -0.17135 0.45124 -0.16805 0.45957 C -0.1684 0.46297 -0.16858 0.46605 -0.1691 0.46914 C -0.16962 0.47099 -0.17049 0.47284 -0.17118 0.47439 C -0.17465 0.48272 -0.17378 0.48087 -0.17743 0.48766 C -0.18003 0.50093 -0.17691 0.48426 -0.17951 0.50062 C -0.17986 0.50247 -0.18038 0.50402 -0.18055 0.50618 C -0.18108 0.50957 -0.18142 0.51328 -0.1816 0.51729 C -0.18246 0.52562 -0.18229 0.53488 -0.18368 0.54321 C -0.18403 0.54507 -0.18455 0.54661 -0.18472 0.54846 C -0.18524 0.55093 -0.18542 0.55371 -0.18576 0.55587 C -0.18646 0.55865 -0.18733 0.56081 -0.18785 0.56328 C -0.18837 0.56513 -0.18854 0.56729 -0.18889 0.56914 C -0.18854 0.58241 -0.18646 0.61081 -0.18993 0.6247 C -0.19062 0.62716 -0.19722 0.63056 -0.1993 0.6321 C -0.19965 0.63395 -0.2 0.63581 -0.20035 0.63766 C -0.20104 0.63951 -0.20208 0.64105 -0.20243 0.64321 C -0.20312 0.64537 -0.20312 0.64815 -0.20347 0.65031 C -0.20399 0.6642 -0.20052 0.67963 -0.20764 0.68766 C -0.20937 0.6892 -0.21111 0.69044 -0.21285 0.69136 C -0.21493 0.69229 -0.21701 0.69229 -0.2191 0.69321 C -0.22014 0.69445 -0.22135 0.69507 -0.22222 0.69692 C -0.22639 0.70402 -0.22465 0.71173 -0.22326 0.72284 C -0.22292 0.72655 -0.21996 0.73056 -0.21805 0.7321 C -0.21615 0.73365 -0.2118 0.73581 -0.2118 0.73581 C -0.21094 0.73735 -0.20573 0.74599 -0.20555 0.74846 C -0.20399 0.80649 -0.20035 0.79476 -0.20868 0.81698 C -0.20903 0.81976 -0.20903 0.82254 -0.20972 0.8247 C -0.21302 0.83272 -0.21562 0.83581 -0.22014 0.83951 C -0.22118 0.84013 -0.22222 0.84044 -0.22326 0.84105 C -0.22292 0.84877 -0.22274 0.85618 -0.22222 0.86358 C -0.22205 0.86667 -0.22118 0.86945 -0.22118 0.87284 C -0.22118 0.89507 -0.21753 0.9105 -0.22535 0.92439 C -0.22639 0.92624 -0.22743 0.92686 -0.22847 0.9284 C -0.23194 0.93766 -0.22951 0.93272 -0.2368 0.94136 L -0.2368 0.94136 C -0.23785 0.94383 -0.23889 0.9463 -0.23993 0.94877 C -0.24236 0.95309 -0.24462 0.95803 -0.24722 0.96173 C -0.2566 0.97408 -0.25278 0.96914 -0.25868 0.97655 C -0.25937 0.9784 -0.26076 0.97963 -0.26076 0.9821 C -0.26128 0.98797 -0.25972 0.99321 -0.25868 0.99846 C -0.25833 1.00093 -0.25816 1.00371 -0.25764 1.00618 C -0.25712 1.00926 -0.25625 1.01204 -0.25555 1.01544 C -0.25521 1.0176 -0.25503 1.02037 -0.25451 1.02254 C -0.25434 1.0247 -0.25382 1.02655 -0.25347 1.02809 C -0.25312 1.03272 -0.25156 1.05216 -0.25139 1.05618 C -0.24983 1.10988 -0.25573 1.09198 -0.24826 1.11142 C -0.25087 1.15525 -0.24757 1.11081 -0.25139 1.14105 C -0.25156 1.1426 -0.25226 1.15618 -0.25347 1.15988 C -0.25434 1.16204 -0.25573 1.16328 -0.2566 1.16513 C -0.25746 1.16698 -0.25799 1.16914 -0.25868 1.17068 C -0.26042 1.1821 -0.25937 1.17593 -0.2618 1.1892 L -0.26285 1.19476 L -0.2618 1.21358 " pathEditMode="relative" ptsTypes="AAAAAAAAAAAAAAAAAAAAAAAAAAAAAAAAAAAAAAAAAAAAAAAAAAAAAAAAAAAAAAAAAAAAAAAAAAAAAAAAAAAAAAAAAAAAAAAAAAAA">
                                      <p:cBhvr>
                                        <p:cTn id="42" dur="10750" fill="hold"/>
                                        <p:tgtEl>
                                          <p:spTgt spid="35"/>
                                        </p:tgtEl>
                                        <p:attrNameLst>
                                          <p:attrName>ppt_x</p:attrName>
                                          <p:attrName>ppt_y</p:attrName>
                                        </p:attrNameLst>
                                      </p:cBhvr>
                                    </p:animMotion>
                                  </p:childTnLst>
                                </p:cTn>
                              </p:par>
                              <p:par>
                                <p:cTn id="43" presetID="0" presetClass="path" presetSubtype="0" fill="hold" nodeType="withEffect">
                                  <p:stCondLst>
                                    <p:cond delay="2000"/>
                                  </p:stCondLst>
                                  <p:childTnLst>
                                    <p:animMotion origin="layout" path="M -0.00017 3.7037E-6 L -0.00017 0.00092 C -0.0026 0.00401 -0.00503 0.00833 -0.00747 0.01142 C -0.01024 0.01574 -0.01163 0.01697 -0.01458 0.02098 C -0.01563 0.02407 -0.01632 0.02839 -0.01771 0.03148 C -0.02344 0.04537 -0.0191 0.02592 -0.02188 0.04105 C -0.02153 0.04722 -0.02188 0.0537 -0.02083 0.05926 C -0.02049 0.06234 -0.01493 0.075 -0.01354 0.07808 C -0.01198 0.08672 -0.01111 0.09012 -0.01354 0.10247 C -0.01528 0.10956 -0.02014 0.11512 -0.02188 0.12253 C -0.02257 0.12407 -0.02257 0.12654 -0.02292 0.12839 C -0.02378 0.13086 -0.02448 0.13333 -0.02517 0.1358 C -0.02483 0.1429 -0.02483 0.1503 -0.02413 0.15679 C -0.02378 0.16018 -0.02257 0.16265 -0.02188 0.16635 C -0.02153 0.16759 -0.02153 0.17006 -0.02083 0.17191 C -0.01701 0.18765 -0.02049 0.17191 -0.01771 0.18456 C -0.01736 0.19259 -0.01563 0.20401 -0.01771 0.21203 C -0.01979 0.21975 -0.02292 0.22469 -0.02517 0.23117 L -0.02726 0.23858 C -0.02691 0.2429 -0.02691 0.24722 -0.02622 0.25123 C -0.02587 0.25308 -0.02483 0.25493 -0.02413 0.2574 C -0.01701 0.2787 -0.02726 0.25123 -0.01875 0.27006 C -0.01736 0.27314 -0.01597 0.27747 -0.01458 0.28117 C -0.01389 0.28333 -0.01319 0.28456 -0.01233 0.28642 C -0.01198 0.28889 -0.01198 0.29074 -0.01128 0.29197 C -0.00833 0.30586 -0.01024 0.29321 -0.00833 0.3071 C -0.00781 0.31635 -0.00747 0.3321 -0.00642 0.34228 L -0.00538 0.34784 C -0.0059 0.35339 -0.0059 0.36049 -0.00642 0.36605 C -0.00677 0.36851 -0.00747 0.37037 -0.00833 0.37191 C -0.01163 0.37685 -0.01528 0.37993 -0.01875 0.38302 C -0.01979 0.38549 -0.02188 0.38734 -0.02188 0.39074 C -0.02257 0.39382 -0.02153 0.39814 -0.02083 0.40185 C -0.02083 0.4037 -0.02014 0.40493 -0.01979 0.4071 C -0.01944 0.40895 -0.01979 0.41203 -0.01875 0.4145 C -0.01701 0.42068 -0.01059 0.43024 -0.00833 0.43456 C -0.00781 0.43703 -0.00747 0.43827 -0.00747 0.44012 C -0.00781 0.44413 -0.0092 0.45154 -0.0092 0.45154 C -0.00885 0.47592 -0.00885 0.49938 -0.00833 0.52376 C -0.00833 0.52685 -0.00677 0.53642 -0.00538 0.53827 C -0.00469 0.5395 -0.00347 0.5395 -0.00208 0.54012 C 0.00104 0.5571 -0.00451 0.53055 0.00208 0.55339 C 0.0026 0.55586 0.0026 0.55833 0.00312 0.5608 C 0.00347 0.56265 0.00365 0.5645 0.00399 0.56574 C 0.00365 0.56851 0.00365 0.57098 0.00312 0.57345 C 0.00226 0.57592 0.00104 0.57839 -0.00017 0.58086 C -0.00069 0.58271 -0.00156 0.58487 -0.00208 0.58672 C -0.0026 0.58796 -0.00313 0.59043 -0.00347 0.59228 C -0.00156 0.60092 0.00035 0.60926 0.00208 0.61851 C 0.0026 0.62129 0.00347 0.62561 0.00399 0.62932 L 0.00503 0.63487 C 0.0059 0.63981 0.0066 0.64475 0.00747 0.65 C 0.00694 0.65586 0.00642 0.66142 0.00608 0.66821 C 0.0059 0.67716 0.0059 0.68642 0.00503 0.69598 C 0.00486 0.69969 0.00451 0.70401 0.00312 0.7071 L -0.00208 0.71851 C -0.00399 0.72808 -0.00156 0.72037 -0.00747 0.7253 C -0.02014 0.73672 -0.00503 0.72747 -0.01458 0.73302 C -0.01701 0.73796 -0.0184 0.73981 -0.01875 0.74568 C -0.01979 0.75432 -0.01771 0.76574 -0.02083 0.77191 C -0.02378 0.77685 -0.02934 0.77314 -0.03351 0.77376 L -0.03854 0.77747 C -0.03993 0.7787 -0.04063 0.78024 -0.04167 0.78086 C -0.04271 0.78148 -0.0441 0.78148 -0.04479 0.78271 C -0.04722 0.78518 -0.05104 0.79074 -0.05104 0.79074 C -0.05174 0.79259 -0.05313 0.79382 -0.05313 0.79568 C -0.05677 0.81851 -0.04826 0.80956 -0.06788 0.81265 C -0.07188 0.81419 -0.07639 0.81419 -0.08021 0.81851 C -0.0816 0.81913 -0.0816 0.82345 -0.08229 0.82592 C -0.08733 0.83549 -0.08524 0.82654 -0.08976 0.83487 C -0.09635 0.84598 -0.09566 0.84598 -0.09896 0.85926 C -0.09931 0.87006 -0.09844 0.88179 -0.1 0.89259 C -0.10069 0.89444 -0.10278 0.89321 -0.10417 0.89382 L -0.11354 0.89568 C -0.11441 0.9 -0.11545 0.90277 -0.1158 0.9071 C -0.11649 0.91635 -0.1158 0.92654 -0.11788 0.93456 C -0.11892 0.93858 -0.12413 0.94228 -0.12413 0.9429 L -0.12622 0.95679 C -0.12656 0.95987 -0.12691 0.96172 -0.12726 0.96481 C -0.1276 0.9679 -0.12865 0.98055 -0.12917 0.98487 C -0.13056 0.99259 -0.13194 0.99814 -0.13333 1.00555 C -0.13368 1.01018 -0.13403 1.01512 -0.13438 1.02006 C -0.13611 1.03024 -0.13854 1.02654 -0.14063 1.03889 C -0.14236 1.04598 -0.14167 1.04197 -0.14271 1.05154 C -0.14306 1.08611 -0.13819 1.125 -0.13438 1.14568 C -0.13056 1.16635 -0.12361 1.16327 -0.11979 1.1753 C -0.11875 1.17963 -0.12396 1.23364 -0.12396 1.23889 " pathEditMode="relative" rAng="0" ptsTypes="AAAAAAAAAAAAAAAAAAAAAAAAAAAAAAAAAAAAAAAAAAAAAAAAAAAAAAAAAAAAAAAAAAAAAAAAAAAAAAAAAAAAAAA">
                                      <p:cBhvr>
                                        <p:cTn id="44" dur="11000" fill="hold"/>
                                        <p:tgtEl>
                                          <p:spTgt spid="53"/>
                                        </p:tgtEl>
                                        <p:attrNameLst>
                                          <p:attrName>ppt_x</p:attrName>
                                          <p:attrName>ppt_y</p:attrName>
                                        </p:attrNameLst>
                                      </p:cBhvr>
                                      <p:rCtr x="-6753" y="61944"/>
                                    </p:animMotion>
                                  </p:childTnLst>
                                </p:cTn>
                              </p:par>
                              <p:par>
                                <p:cTn id="45" presetID="0" presetClass="path" presetSubtype="0" fill="hold" nodeType="withEffect">
                                  <p:stCondLst>
                                    <p:cond delay="200"/>
                                  </p:stCondLst>
                                  <p:childTnLst>
                                    <p:animMotion origin="layout" path="M 5E-6 0.00062 L 5E-6 0.00062 C -0.00034 0.01111 -0.00034 0.02191 -0.00104 0.0321 C -0.00138 0.03549 -0.00243 0.03858 -0.00312 0.04136 C -0.00416 0.04475 -0.00746 0.05185 -0.00833 0.05432 C -0.01303 0.06667 -0.00937 0.06111 -0.01459 0.06728 C -0.01528 0.06914 -0.01598 0.0713 -0.01667 0.07284 C -0.02084 0.08179 -0.02327 0.08025 -0.02605 0.09537 C -0.02761 0.1034 -0.02674 0.09907 -0.02917 0.10833 C -0.02882 0.12006 -0.02899 0.13179 -0.02813 0.14321 C -0.02795 0.14661 -0.02674 0.14938 -0.02605 0.15278 C -0.0257 0.15432 -0.02535 0.15617 -0.02499 0.15833 C -0.02553 0.16914 -0.02499 0.17685 -0.02709 0.1858 C -0.02778 0.18858 -0.02848 0.19105 -0.02917 0.19352 C -0.02952 0.19661 -0.02935 0.2 -0.03021 0.20247 C -0.03594 0.21821 -0.03473 0.20957 -0.04063 0.21728 C -0.04185 0.21852 -0.04271 0.22099 -0.04375 0.22284 C -0.04584 0.22531 -0.04826 0.22685 -0.04999 0.23025 C -0.05243 0.23426 -0.05381 0.23611 -0.0552 0.24136 C -0.05573 0.2429 -0.0559 0.24506 -0.05625 0.24691 C -0.05607 0.25 -0.05555 0.26512 -0.05417 0.27099 C -0.05381 0.27284 -0.05278 0.27469 -0.05209 0.27654 C -0.05243 0.28457 -0.05243 0.29259 -0.05313 0.30062 C -0.05347 0.30278 -0.05486 0.30401 -0.0552 0.30617 C -0.0559 0.30895 -0.05573 0.31235 -0.05625 0.31543 C -0.05729 0.31975 -0.06093 0.32531 -0.06249 0.3284 C -0.06459 0.33889 -0.06285 0.33241 -0.06979 0.34506 C -0.07084 0.34691 -0.07188 0.34877 -0.07291 0.35062 C -0.07813 0.35741 -0.07569 0.35432 -0.08021 0.35988 C -0.0809 0.36173 -0.08143 0.36358 -0.08229 0.36543 C -0.08334 0.36698 -0.08525 0.36698 -0.08541 0.36914 C -0.08594 0.37253 -0.08489 0.37654 -0.08438 0.38025 C -0.08369 0.3858 -0.08316 0.38611 -0.08125 0.39136 C -0.0816 0.39568 -0.0809 0.40093 -0.08229 0.40432 C -0.08455 0.40895 -0.09028 0.41111 -0.09375 0.41358 C -0.09566 0.41451 -0.09722 0.41605 -0.09895 0.41728 C -0.10625 0.43611 -0.09445 0.40617 -0.10521 0.4284 C -0.1066 0.43087 -0.1073 0.43457 -0.10834 0.43766 C -0.11094 0.45957 -0.10764 0.43673 -0.11146 0.45247 C -0.11563 0.46852 -0.11112 0.45895 -0.11667 0.46914 C -0.11928 0.4821 -0.11598 0.46605 -0.1198 0.4821 C -0.12032 0.48364 -0.12049 0.4858 -0.12084 0.48766 C -0.12049 0.4963 -0.12049 0.50494 -0.1198 0.51358 C -0.11875 0.52963 -0.11528 0.50216 -0.1198 0.53766 C -0.12014 0.53982 -0.12136 0.54105 -0.12188 0.54321 C -0.12327 0.54753 -0.12362 0.55556 -0.12396 0.55988 C -0.12344 0.59414 -0.12605 0.61019 -0.12188 0.6358 C -0.12049 0.64445 -0.12153 0.63858 -0.11771 0.64691 C -0.11702 0.64846 -0.1165 0.65062 -0.11563 0.65247 C -0.11441 0.65494 -0.11285 0.6571 -0.11146 0.65988 C -0.1099 0.66327 -0.1073 0.67099 -0.1073 0.67099 C -0.10799 0.6821 -0.10851 0.69321 -0.10938 0.70432 C -0.1099 0.70803 -0.11025 0.71204 -0.11146 0.71543 C -0.1125 0.7179 -0.11372 0.72006 -0.11459 0.72284 C -0.11546 0.72438 -0.1158 0.72654 -0.11667 0.7284 C -0.11858 0.73148 -0.12205 0.73333 -0.12396 0.7358 C -0.12622 0.73796 -0.13021 0.74321 -0.13021 0.74321 C -0.13091 0.74691 -0.13143 0.75062 -0.1323 0.75432 L -0.13646 0.76914 C -0.13612 0.79383 -0.13612 0.81852 -0.13542 0.84321 C -0.13525 0.85432 -0.13091 0.84321 -0.13542 0.86173 C -0.13594 0.86358 -0.1375 0.8642 -0.13855 0.86543 C -0.13924 0.87037 -0.13976 0.87531 -0.14063 0.88025 C -0.14098 0.8821 -0.14132 0.88395 -0.14167 0.8858 C -0.14237 0.88766 -0.14323 0.8892 -0.14375 0.89136 C -0.14914 0.90772 -0.14289 0.89074 -0.14792 0.90432 C -0.14827 0.90679 -0.14862 0.90926 -0.14896 0.91173 C -0.14931 0.91358 -0.15 0.91512 -0.15 0.91728 C -0.15 0.92284 -0.14775 0.92438 -0.14584 0.9284 C -0.14514 0.92994 -0.14428 0.93179 -0.14375 0.93395 C -0.14289 0.93735 -0.14237 0.94136 -0.14167 0.94506 L -0.14063 0.95062 C -0.14098 0.95926 -0.14132 0.9784 -0.14271 0.98951 C -0.14375 0.99568 -0.14566 1.0037 -0.14688 1.00988 C -0.14653 1.02654 -0.14584 1.0429 -0.14584 1.05988 C -0.14584 1.06728 -0.14688 1.07438 -0.14688 1.0821 C -0.14688 1.0963 -0.14619 1.11049 -0.14584 1.12469 C -0.14619 1.13457 -0.14688 1.14414 -0.14688 1.15432 C -0.14688 1.16235 -0.14619 1.17037 -0.1448 1.1784 C -0.14462 1.18025 -0.1441 1.18179 -0.14375 1.18395 C -0.14219 1.19414 -0.14393 1.18827 -0.14063 1.19691 C -0.14028 1.20185 -0.13994 1.20648 -0.13959 1.21173 C -0.13733 1.27562 -0.1375 1.26451 -0.1375 1.30617 " pathEditMode="relative" ptsTypes="AAAAAAAAAAAAAAAAAAAAAAAAAAAAAAAAAAAAAAAAAAAAAAAAAAAAAAAAAAAAAAAAAAAAAAAAAAAAAAAAAAA">
                                      <p:cBhvr>
                                        <p:cTn id="46" dur="11500" fill="hold"/>
                                        <p:tgtEl>
                                          <p:spTgt spid="61"/>
                                        </p:tgtEl>
                                        <p:attrNameLst>
                                          <p:attrName>ppt_x</p:attrName>
                                          <p:attrName>ppt_y</p:attrName>
                                        </p:attrNameLst>
                                      </p:cBhvr>
                                    </p:animMotion>
                                  </p:childTnLst>
                                </p:cTn>
                              </p:par>
                              <p:par>
                                <p:cTn id="47" presetID="0" presetClass="path" presetSubtype="0" fill="hold" nodeType="withEffect">
                                  <p:stCondLst>
                                    <p:cond delay="1800"/>
                                  </p:stCondLst>
                                  <p:childTnLst>
                                    <p:animMotion origin="layout" path="M -0.01267 -0.0108 L -0.01267 -0.0108 C -0.01441 -0.00092 -0.0158 0.00926 -0.01788 0.01883 C -0.01823 0.02099 -0.01944 0.02253 -0.01996 0.02439 C -0.02066 0.02871 -0.02014 0.03334 -0.02101 0.03735 C -0.02153 0.04105 -0.02309 0.04352 -0.02413 0.04661 C -0.02448 0.04846 -0.02465 0.05062 -0.02517 0.05216 C -0.02673 0.05895 -0.02708 0.05957 -0.02934 0.06513 C -0.02899 0.0713 -0.02916 0.07778 -0.0283 0.08365 C -0.02778 0.08642 -0.02587 0.08704 -0.02517 0.0892 C -0.02448 0.09105 -0.02448 0.09321 -0.02413 0.09476 C -0.02344 0.09692 -0.02274 0.09846 -0.02205 0.10031 C -0.01996 0.11821 -0.02222 0.10186 -0.01892 0.11698 C -0.01805 0.12068 -0.01684 0.12809 -0.01684 0.12809 C -0.01614 0.14167 -0.01545 0.15556 -0.01476 0.16883 C -0.01441 0.17439 -0.01423 0.18025 -0.01371 0.1855 C -0.01319 0.19013 -0.01215 0.19414 -0.01163 0.19846 C -0.00833 0.22377 -0.01302 0.19661 -0.00851 0.21883 C -0.00764 0.22253 -0.00642 0.22963 -0.00642 0.22963 C -0.00677 0.23303 -0.00677 0.23611 -0.00746 0.2392 C -0.00851 0.24414 -0.01076 0.2463 -0.01267 0.25 C -0.01337 0.25186 -0.01389 0.25402 -0.01476 0.25587 C -0.01562 0.25834 -0.01684 0.26081 -0.01788 0.26328 C -0.01753 0.28179 -0.01771 0.30031 -0.01684 0.31883 C -0.01666 0.32099 -0.01528 0.32223 -0.01476 0.32408 C -0.01423 0.32593 -0.01423 0.32809 -0.01371 0.32994 C -0.0118 0.33488 -0.00937 0.33951 -0.00746 0.34445 C -0.00607 0.34846 -0.00434 0.35186 -0.0033 0.35587 C -0.0026 0.35834 -0.00208 0.36111 -0.00121 0.36328 C -0.00035 0.36482 0.00087 0.36574 0.00191 0.36698 C 0.00261 0.38087 0.00573 0.41667 0.00295 0.4355 C 0.00209 0.44198 -0.00069 0.4429 -0.0033 0.4463 C -0.00607 0.45062 -0.00712 0.45309 -0.00851 0.45957 C -0.00885 0.46173 -0.00903 0.46451 -0.00955 0.46667 C -0.00972 0.46883 -0.01024 0.47037 -0.01059 0.47253 C -0.01163 0.47871 -0.01128 0.48149 -0.01371 0.48704 C -0.01441 0.4892 -0.0158 0.49074 -0.01684 0.4929 C -0.01719 0.49476 -0.01719 0.49692 -0.01788 0.49846 C -0.01857 0.5 -0.01979 0.50093 -0.02101 0.50216 C -0.02361 0.50463 -0.02673 0.50649 -0.02934 0.50957 C -0.03038 0.51081 -0.03142 0.51173 -0.03246 0.51328 C -0.03524 0.51729 -0.03628 0.52068 -0.03871 0.52624 C -0.03906 0.52871 -0.0408 0.53673 -0.0408 0.5392 C -0.0408 0.54537 -0.04062 0.55155 -0.03976 0.55772 C -0.03923 0.56019 -0.0375 0.56111 -0.03663 0.56328 C -0.03507 0.56667 -0.03246 0.57439 -0.03246 0.57439 C -0.03281 0.58056 -0.03298 0.58673 -0.03351 0.5926 C -0.03368 0.59537 -0.03368 0.59815 -0.03455 0.60031 C -0.03524 0.60216 -0.03663 0.60278 -0.03767 0.60402 C -0.03837 0.60587 -0.03871 0.60803 -0.03976 0.60957 C -0.04045 0.6105 -0.04184 0.6105 -0.04288 0.61142 C -0.04392 0.61235 -0.04965 0.61976 -0.05017 0.62068 C -0.05104 0.62223 -0.05156 0.62408 -0.05226 0.62624 C -0.0533 0.62902 -0.05434 0.6321 -0.05538 0.63519 C -0.05573 0.63704 -0.05607 0.63889 -0.05642 0.64105 C -0.05937 0.66081 -0.05746 0.64939 -0.05955 0.66513 C -0.05972 0.6676 -0.06007 0.67007 -0.06059 0.67253 C -0.06111 0.675 -0.06198 0.67716 -0.06267 0.67994 C -0.06302 0.68149 -0.06337 0.68365 -0.06371 0.6855 C -0.06337 0.68858 -0.06285 0.69136 -0.06267 0.69476 C -0.06215 0.7 -0.06232 0.70587 -0.06163 0.71142 C -0.06128 0.71328 -0.06024 0.71513 -0.05955 0.71667 C -0.05989 0.72562 -0.05885 0.73457 -0.06059 0.7429 C -0.06111 0.74599 -0.06406 0.7463 -0.0658 0.74846 C -0.06788 0.75062 -0.07205 0.75587 -0.07205 0.75587 C -0.07274 0.75741 -0.07396 0.75895 -0.07413 0.76142 C -0.07482 0.77531 -0.07326 0.7713 -0.07101 0.77994 C -0.07048 0.78149 -0.07031 0.78365 -0.06996 0.7855 C -0.0658 0.79969 -0.06944 0.78241 -0.06684 0.79661 C -0.06719 0.79969 -0.06736 0.80278 -0.06788 0.80556 C -0.06805 0.80834 -0.06892 0.8105 -0.06892 0.81328 C -0.06892 0.8142 -0.06736 0.83241 -0.06684 0.8355 C -0.06632 0.83735 -0.06545 0.83889 -0.06476 0.84105 C -0.06441 0.84352 -0.06423 0.84599 -0.06371 0.84846 C -0.06319 0.85031 -0.06163 0.85155 -0.06163 0.85402 C -0.06059 0.8679 -0.06094 0.8821 -0.06059 0.89661 C -0.06128 0.90031 -0.06146 0.90402 -0.06267 0.90772 C -0.06476 0.91451 -0.06666 0.91266 -0.06996 0.91698 C -0.07101 0.91821 -0.07187 0.92068 -0.07309 0.92253 C -0.07396 0.92377 -0.07517 0.925 -0.07621 0.92624 C -0.07691 0.92871 -0.07743 0.93118 -0.0783 0.93365 C -0.07882 0.9355 -0.07986 0.93704 -0.08038 0.9392 C -0.08125 0.9426 -0.08246 0.95031 -0.08246 0.95031 C -0.08107 0.97655 -0.08281 0.96297 -0.07934 0.97994 C -0.07882 0.98149 -0.07882 0.98365 -0.0783 0.98519 C -0.07743 0.98766 -0.07621 0.9892 -0.07517 0.99105 C -0.07413 0.99815 -0.07326 1 -0.07517 1.00772 C -0.07726 1.01605 -0.07864 1.01358 -0.08142 1.02068 C -0.08298 1.02439 -0.08368 1.02902 -0.08455 1.03334 C -0.08524 1.06328 -0.08125 1.09414 -0.08663 1.12223 C -0.08698 1.12439 -0.08715 1.12624 -0.08767 1.12809 C -0.08871 1.13179 -0.09097 1.13642 -0.09288 1.13889 C -0.09479 1.14167 -0.09705 1.14383 -0.09913 1.14661 L -0.10226 1.15031 L -0.10521 1.15402 C -0.10503 1.15895 -0.10469 1.16389 -0.10434 1.16883 C -0.10399 1.17068 -0.1033 1.17223 -0.1033 1.17439 C -0.1033 1.18457 -0.10382 1.18673 -0.10521 1.19476 C -0.10503 1.21019 -0.10521 1.22562 -0.10434 1.24105 C -0.10416 1.24321 -0.1026 1.24445 -0.10226 1.24661 C -0.10156 1.24877 -0.10156 1.25155 -0.10121 1.25402 C -0.09913 1.26574 -0.10017 1.25309 -0.10017 1.27439 " pathEditMode="relative" ptsTypes="AAAAAAAAAAAAAAAAAAAAAAAAAAAAAAAAAAAAAAAAAAAAAAAAAAAAAAAAAAAAAAAAAAAAAAAAAAAAAAAAAAAAAAAAAAAAAAAAAAAAAA">
                                      <p:cBhvr>
                                        <p:cTn id="48" dur="11750" fill="hold"/>
                                        <p:tgtEl>
                                          <p:spTgt spid="47"/>
                                        </p:tgtEl>
                                        <p:attrNameLst>
                                          <p:attrName>ppt_x</p:attrName>
                                          <p:attrName>ppt_y</p:attrName>
                                        </p:attrNameLst>
                                      </p:cBhvr>
                                    </p:animMotion>
                                  </p:childTnLst>
                                </p:cTn>
                              </p:par>
                              <p:par>
                                <p:cTn id="49" presetID="0" presetClass="path" presetSubtype="0" fill="hold" nodeType="withEffect">
                                  <p:stCondLst>
                                    <p:cond delay="5500"/>
                                  </p:stCondLst>
                                  <p:childTnLst>
                                    <p:animMotion origin="layout" path="M -4.72222E-6 -0.00895 L -4.72222E-6 -0.00895 C -0.00208 -0.00463 -0.00486 -0.00092 -0.00625 0.00401 C -0.00746 0.00926 -0.00781 0.02284 -0.00937 0.02994 C -0.01006 0.03334 -0.01215 0.04013 -0.01354 0.0429 C -0.01631 0.04908 -0.01666 0.04722 -0.01875 0.05401 C -0.01909 0.05587 -0.01927 0.05772 -0.01979 0.05957 C -0.01892 0.07068 -0.0184 0.0821 -0.0177 0.0929 C -0.01718 0.09784 -0.01614 0.10494 -0.01562 0.10957 C -0.01614 0.11821 -0.01631 0.12716 -0.0177 0.1355 C -0.01805 0.13858 -0.01961 0.14043 -0.02083 0.1426 C -0.02743 0.15648 -0.02222 0.14506 -0.02812 0.15401 C -0.02916 0.15556 -0.03003 0.15772 -0.03107 0.15957 C -0.03281 0.16204 -0.03472 0.16389 -0.03628 0.16698 C -0.03732 0.16852 -0.03767 0.17068 -0.03836 0.17253 C -0.04201 0.17994 -0.04149 0.17531 -0.04357 0.1855 C -0.04409 0.18766 -0.04444 0.19013 -0.04461 0.1929 C -0.04548 0.19815 -0.046 0.20401 -0.0467 0.20957 C -0.04739 0.21327 -0.04826 0.21667 -0.04878 0.22068 C -0.04913 0.22315 -0.04947 0.22562 -0.04982 0.22809 C -0.05052 0.23179 -0.05121 0.2355 -0.0519 0.2392 L -0.05295 0.24476 C -0.0526 0.25463 -0.0526 0.26451 -0.0519 0.27439 C -0.0519 0.27624 -0.05121 0.27778 -0.05086 0.27994 C -0.05052 0.28272 -0.05017 0.28611 -0.04982 0.28889 C -0.05017 0.30031 -0.05034 0.31142 -0.05086 0.32253 C -0.05104 0.32439 -0.05138 0.32624 -0.0519 0.32809 C -0.05729 0.34476 -0.05416 0.33395 -0.0592 0.34476 C -0.06006 0.3463 -0.06076 0.34815 -0.06128 0.35031 C -0.0618 0.35185 -0.0618 0.35432 -0.06232 0.35587 C -0.06319 0.35741 -0.0644 0.35834 -0.06545 0.35957 C -0.06614 0.36204 -0.06684 0.36451 -0.06753 0.36698 C -0.06857 0.36976 -0.07187 0.37778 -0.07274 0.37994 C -0.07413 0.38241 -0.07586 0.38457 -0.0769 0.38735 C -0.07829 0.39013 -0.07881 0.39383 -0.08003 0.39661 C -0.08819 0.41327 -0.08576 0.4108 -0.09253 0.41513 C -0.09392 0.4176 -0.09531 0.42006 -0.0967 0.42253 C -0.09774 0.42377 -0.09913 0.42439 -0.09982 0.42624 C -0.10659 0.44013 -0.09756 0.42809 -0.10503 0.43735 C -0.10538 0.46266 -0.10451 0.48797 -0.10607 0.51327 C -0.10642 0.51574 -0.10885 0.51574 -0.11024 0.51698 C -0.11371 0.51945 -0.11736 0.5213 -0.12065 0.52439 C -0.12204 0.52562 -0.12343 0.52716 -0.12482 0.52809 C -0.1276 0.52963 -0.13055 0.53025 -0.13315 0.53179 C -0.14965 0.53951 -0.11979 0.52624 -0.14045 0.5355 C -0.14704 0.54321 -0.1401 0.5358 -0.1519 0.5429 L -0.15815 0.54661 L -0.16128 0.54846 L -0.16545 0.55957 C -0.16614 0.56142 -0.16666 0.56327 -0.16753 0.56513 C -0.17135 0.57161 -0.17048 0.56976 -0.17378 0.57809 C -0.17465 0.57963 -0.17534 0.58148 -0.17586 0.58364 C -0.17638 0.58519 -0.17656 0.58704 -0.1769 0.5892 C -0.17482 0.60587 -0.17361 0.62284 -0.17065 0.6392 C -0.17031 0.64105 -0.16857 0.64105 -0.16753 0.6429 C -0.16631 0.64506 -0.16545 0.64784 -0.1644 0.65031 C -0.1651 0.65834 -0.16458 0.66698 -0.16649 0.67439 C -0.1677 0.6784 -0.17274 0.68179 -0.17274 0.68179 C -0.17343 0.68364 -0.17413 0.6855 -0.17482 0.68735 C -0.17777 0.69321 -0.17812 0.69136 -0.18003 0.69846 C -0.18437 0.71358 -0.17725 0.69352 -0.18315 0.70957 C -0.18368 0.71204 -0.1842 0.7142 -0.1842 0.71698 C -0.18489 0.72963 -0.18385 0.7429 -0.18524 0.75587 C -0.18559 0.75834 -0.18819 0.75803 -0.1894 0.75957 C -0.19392 0.76389 -0.19201 0.76389 -0.19791 0.76698 C -0.19982 0.7679 -0.20208 0.7679 -0.20416 0.76883 C -0.2059 0.76914 -0.20746 0.77006 -0.20937 0.77068 C -0.21041 0.77192 -0.21128 0.77315 -0.2125 0.77439 C -0.21336 0.775 -0.21458 0.775 -0.21562 0.77624 C -0.2177 0.7784 -0.21961 0.78148 -0.2217 0.78364 C -0.22725 0.78827 -0.22482 0.78519 -0.22899 0.7929 C -0.22968 0.79661 -0.23107 0.8 -0.23107 0.80401 C -0.23194 0.83118 -0.22673 0.83673 -0.23628 0.84661 C -0.23732 0.84753 -0.23836 0.84784 -0.2394 0.84846 C -0.23975 0.84846 -0.24583 0.85679 -0.2467 0.85772 C -0.24947 0.85926 -0.25243 0.85988 -0.25503 0.86142 C -0.25625 0.86173 -0.25711 0.86266 -0.25815 0.86327 C -0.26024 0.86821 -0.26336 0.87222 -0.2644 0.87809 C -0.26475 0.87994 -0.26493 0.88179 -0.26545 0.88364 C -0.26631 0.8858 -0.2677 0.88704 -0.26857 0.8892 C -0.27291 0.89877 -0.27256 0.89908 -0.27482 0.90957 C -0.27517 0.9213 -0.27534 0.93303 -0.27586 0.94476 C -0.27604 0.9463 -0.27725 0.95679 -0.27899 0.95772 C -0.28819 0.96204 -0.30711 0.96698 -0.30711 0.96698 C -0.30746 0.9713 -0.30798 0.97531 -0.30815 0.97994 C -0.30868 0.98889 -0.30711 0.99908 -0.3092 1.00772 C -0.31006 1.01111 -0.31354 1.00864 -0.31545 1.00957 C -0.31666 1.00988 -0.3177 1.0105 -0.31857 1.01142 C -0.31979 1.01235 -0.32065 1.01389 -0.3217 1.01513 C -0.32343 1.01636 -0.32534 1.01698 -0.3269 1.01883 C -0.32847 1.02006 -0.32968 1.02253 -0.33107 1.02439 C -0.34392 1.04013 -0.33177 1.02408 -0.34149 1.03735 C -0.34218 1.04167 -0.34357 1.04568 -0.34357 1.05031 C -0.34392 1.05525 -0.34253 1.05988 -0.34253 1.06513 C -0.34253 1.07006 -0.34322 1.075 -0.34357 1.07994 C -0.34409 1.08334 -0.34531 1.08827 -0.3467 1.09105 C -0.34774 1.0926 -0.34878 1.09383 -0.34982 1.09476 C -0.35121 1.09568 -0.3526 1.09599 -0.35399 1.09661 C -0.35694 1.09969 -0.35798 1.10155 -0.36128 1.10401 C -0.36336 1.10525 -0.36579 1.10556 -0.36753 1.10772 C -0.37343 1.11389 -0.37135 1.11266 -0.3769 1.11513 C -0.38576 1.11852 -0.37864 1.11482 -0.38836 1.12068 L -0.39149 1.12253 C -0.39427 1.13642 -0.39062 1.11914 -0.39461 1.13364 C -0.39548 1.13642 -0.39618 1.13951 -0.3967 1.1429 C -0.39791 1.14784 -0.39843 1.15185 -0.39878 1.15772 C -0.40034 1.17778 -0.39739 1.17161 -0.40086 1.17809 " pathEditMode="relative" ptsTypes="AAAAAAAAAAAAAAAAAAAAAAAAAAAAAAAAAAAAAAAAAAAAAAAAAAAAAAAAAAAAAAAAAAAAAAAAAAAAAAAAAAAAAAAAAAAAAAAAAAAAAAAAAAA">
                                      <p:cBhvr>
                                        <p:cTn id="50" dur="11500" fill="hold"/>
                                        <p:tgtEl>
                                          <p:spTgt spid="38"/>
                                        </p:tgtEl>
                                        <p:attrNameLst>
                                          <p:attrName>ppt_x</p:attrName>
                                          <p:attrName>ppt_y</p:attrName>
                                        </p:attrNameLst>
                                      </p:cBhvr>
                                    </p:animMotion>
                                  </p:childTnLst>
                                </p:cTn>
                              </p:par>
                              <p:par>
                                <p:cTn id="51" presetID="0" presetClass="path" presetSubtype="0" fill="hold" nodeType="withEffect">
                                  <p:stCondLst>
                                    <p:cond delay="4000"/>
                                  </p:stCondLst>
                                  <p:childTnLst>
                                    <p:animMotion origin="layout" path="M 0.00347 -0.00494 L 0.00347 -0.00494 C 0.00104 0.00185 -0.00069 0.00988 -0.00382 0.01543 C -0.00798 0.02284 -0.00625 0.01883 -0.00903 0.02654 C -0.01163 0.04907 -0.00833 0.02253 -0.01215 0.04506 C -0.01302 0.05 -0.01423 0.05988 -0.01423 0.05988 C -0.01389 0.06512 -0.01389 0.07469 -0.01215 0.08025 C -0.01163 0.08241 -0.01076 0.08395 -0.01007 0.0858 C -0.00972 0.08827 -0.00972 0.09105 -0.00903 0.09321 C -0.00868 0.09537 -0.00712 0.0966 -0.00694 0.09876 C -0.0066 0.10525 -0.00798 0.11389 -0.01007 0.11914 C -0.01094 0.1213 -0.01233 0.12284 -0.01319 0.12469 C -0.01597 0.13055 -0.01476 0.13117 -0.0184 0.1358 C -0.01979 0.13765 -0.02135 0.13796 -0.02257 0.13951 C -0.02951 0.14846 -0.02222 0.14321 -0.02882 0.14691 C -0.03021 0.14876 -0.0316 0.15093 -0.03298 0.15247 C -0.03733 0.15772 -0.03837 0.1571 -0.04132 0.16358 C -0.04288 0.16728 -0.04548 0.17469 -0.04548 0.17469 C -0.04583 0.19228 -0.04444 0.2108 -0.04653 0.22809 C -0.04705 0.23272 -0.05052 0.23426 -0.05278 0.2358 C -0.05486 0.23704 -0.05694 0.23827 -0.05903 0.23951 C -0.06042 0.23981 -0.06198 0.24043 -0.06319 0.24136 C -0.06545 0.24228 -0.06736 0.24383 -0.06944 0.24475 C -0.0717 0.2463 -0.075 0.24784 -0.07673 0.25062 C -0.08976 0.26914 -0.08055 0.25679 -0.08611 0.26914 C -0.08715 0.27099 -0.08837 0.27253 -0.08923 0.27469 C -0.09739 0.29105 -0.08785 0.27376 -0.09548 0.28735 C -0.09583 0.29012 -0.09601 0.29259 -0.09653 0.29506 C -0.09739 0.29815 -0.10035 0.30586 -0.10173 0.30988 C -0.10243 0.32037 -0.10243 0.33086 -0.10382 0.34136 C -0.10417 0.34321 -0.1059 0.34414 -0.10694 0.34506 C -0.10833 0.34599 -0.10989 0.34599 -0.11111 0.34691 C -0.11267 0.34784 -0.11389 0.34938 -0.11528 0.35062 C -0.11632 0.35123 -0.11736 0.35185 -0.1184 0.35216 C -0.12882 0.37068 -0.12535 0.36235 -0.12986 0.37469 C -0.13021 0.37778 -0.13073 0.38055 -0.1309 0.38395 C -0.13142 0.38735 -0.1316 0.39136 -0.13194 0.39506 C -0.13229 0.39691 -0.13281 0.39846 -0.13298 0.40031 C -0.13351 0.40278 -0.13351 0.40555 -0.13403 0.40802 C -0.13524 0.41173 -0.13611 0.41636 -0.13819 0.41914 C -0.14271 0.42407 -0.14045 0.42099 -0.14444 0.42839 C -0.14514 0.43148 -0.14601 0.43426 -0.14653 0.43735 C -0.14826 0.4466 -0.14722 0.44506 -0.14861 0.45617 C -0.1493 0.45988 -0.15 0.46358 -0.15069 0.46728 C -0.15035 0.48796 -0.14861 0.53117 -0.15069 0.55432 C -0.15104 0.5571 -0.15278 0.55895 -0.15382 0.56173 C -0.15417 0.56358 -0.15503 0.56512 -0.15486 0.56728 C -0.15434 0.57407 -0.15364 0.58117 -0.15173 0.58765 C -0.15156 0.58858 -0.14566 0.59537 -0.14444 0.5966 C -0.14375 0.59938 -0.14305 0.60154 -0.14236 0.60432 C -0.14201 0.60586 -0.14184 0.60802 -0.14132 0.60957 C -0.1408 0.61173 -0.13993 0.61327 -0.13923 0.61543 C -0.13854 0.62068 -0.1375 0.62932 -0.13611 0.63395 C -0.13542 0.63642 -0.13507 0.63889 -0.13403 0.64136 C -0.13333 0.64321 -0.13212 0.64506 -0.1309 0.64691 C -0.12899 0.64938 -0.12465 0.65432 -0.12465 0.65432 C -0.12205 0.66883 -0.12205 0.66605 -0.12569 0.6929 C -0.12639 0.69722 -0.12986 0.70432 -0.12986 0.70432 C -0.12882 0.71358 -0.12795 0.72284 -0.12673 0.7321 C -0.12656 0.73395 -0.12569 0.73549 -0.12569 0.73765 C -0.12569 0.73951 -0.12604 0.74167 -0.12673 0.74321 C -0.1309 0.75031 -0.13316 0.75093 -0.13819 0.75247 C -0.14097 0.75309 -0.14375 0.75339 -0.14653 0.75432 C -0.16146 0.76296 -0.14774 0.75278 -0.15069 0.82099 C -0.15087 0.82376 -0.15521 0.83025 -0.1559 0.83179 C -0.15712 0.83426 -0.15816 0.83673 -0.15903 0.8392 C -0.15989 0.84105 -0.16024 0.84352 -0.16111 0.84506 C -0.16389 0.84907 -0.16736 0.84938 -0.17048 0.85062 C -0.17621 0.87037 -0.17396 0.85957 -0.17153 0.90247 C -0.17135 0.90617 -0.17014 0.90988 -0.16944 0.91327 L -0.1684 0.91914 C -0.16875 0.93302 -0.16823 0.94753 -0.16944 0.96142 C -0.16979 0.96389 -0.1717 0.96358 -0.17257 0.96543 C -0.17361 0.96697 -0.17378 0.96944 -0.17465 0.97068 C -0.17552 0.97191 -0.17691 0.97191 -0.17778 0.97284 C -0.17899 0.97376 -0.17986 0.975 -0.1809 0.97654 C -0.1875 0.99352 -0.17691 0.96358 -0.18403 1.00957 C -0.18455 1.01265 -0.18698 1.01327 -0.18819 1.01543 C -0.18941 1.01697 -0.19028 1.01883 -0.19132 1.02099 C -0.19167 1.02284 -0.19201 1.02469 -0.19236 1.02623 C -0.19305 1.02839 -0.1941 1.02994 -0.19444 1.0321 C -0.1993 1.05525 -0.19392 1.03981 -0.19861 1.05216 C -0.19896 1.05463 -0.2 1.06265 -0.20069 1.06543 C -0.20451 1.0787 -0.20121 1.06204 -0.20486 1.07839 C -0.20573 1.08179 -0.20694 1.08951 -0.20694 1.08951 C -0.2066 1.13055 -0.20694 1.17222 -0.2059 1.21358 C -0.20573 1.22191 -0.20312 1.2213 -0.19965 1.22253 C -0.19861 1.22438 -0.19739 1.22593 -0.19653 1.22839 C -0.19427 1.23426 -0.19618 1.24568 -0.19653 1.25062 C -0.19687 1.25247 -0.1967 1.25525 -0.19757 1.25586 C -0.20087 1.25802 -0.20451 1.2571 -0.20798 1.25802 L -0.20694 1.27839 " pathEditMode="relative" ptsTypes="AAAAAAAAAAAAAAAAAAAAAAAAAAAAAAAAAAAAAAAAAAAAAAAAAAAAAAAAAAAAAAAAAAAAAAAAAAAAAAAAAAAAAAAAAAAA">
                                      <p:cBhvr>
                                        <p:cTn id="52" dur="11500" fill="hold"/>
                                        <p:tgtEl>
                                          <p:spTgt spid="34"/>
                                        </p:tgtEl>
                                        <p:attrNameLst>
                                          <p:attrName>ppt_x</p:attrName>
                                          <p:attrName>ppt_y</p:attrName>
                                        </p:attrNameLst>
                                      </p:cBhvr>
                                    </p:animMotion>
                                  </p:childTnLst>
                                </p:cTn>
                              </p:par>
                              <p:par>
                                <p:cTn id="53" presetID="0" presetClass="path" presetSubtype="0" fill="hold" nodeType="withEffect">
                                  <p:stCondLst>
                                    <p:cond delay="4700"/>
                                  </p:stCondLst>
                                  <p:childTnLst>
                                    <p:animMotion origin="layout" path="M 0.00399 -0.00432 L 0.00399 -0.00432 C 0.00382 -0.00371 0.00017 0.01481 -0.00122 0.01821 C -0.00209 0.01975 -0.0033 0.02068 -0.00434 0.02191 C -0.00504 0.02376 -0.00556 0.02561 -0.00643 0.02747 C -0.00747 0.02901 -0.00868 0.02963 -0.00955 0.03117 C -0.01111 0.03271 -0.0125 0.03426 -0.01372 0.03672 C -0.0158 0.04012 -0.01615 0.04321 -0.01684 0.04784 C -0.01632 0.05802 -0.01615 0.06419 -0.01476 0.07376 C -0.01459 0.07561 -0.01407 0.07716 -0.01372 0.07932 C -0.01181 0.09568 -0.01424 0.08487 -0.01059 0.09784 C -0.01042 0.10061 -0.00851 0.11574 -0.00851 0.11821 C -0.00851 0.12438 -0.00868 0.13055 -0.00955 0.13672 C -0.01007 0.13919 -0.01615 0.1466 -0.01684 0.14784 C -0.01997 0.15247 -0.01997 0.15308 -0.02205 0.15895 C -0.0224 0.16111 -0.02275 0.16358 -0.02309 0.16605 C -0.02379 0.16913 -0.02483 0.17191 -0.02518 0.1753 C -0.02587 0.1787 -0.02587 0.18271 -0.02622 0.18642 C -0.02587 0.19568 -0.0257 0.20493 -0.02518 0.21419 C -0.02448 0.2287 -0.02448 0.21821 -0.02309 0.22901 C -0.02275 0.2324 -0.02257 0.23642 -0.02205 0.24012 C -0.02188 0.24259 -0.02136 0.24506 -0.02101 0.24753 C -0.02153 0.25771 -0.01945 0.27222 -0.02413 0.28086 C -0.02518 0.2824 -0.02622 0.28333 -0.02726 0.28456 C -0.02778 0.2858 -0.03038 0.29475 -0.03038 0.29753 C -0.03038 0.30833 -0.02934 0.31821 -0.0283 0.32901 C -0.029 0.34938 -0.02952 0.36975 -0.03038 0.39012 C -0.03056 0.39197 -0.03125 0.39351 -0.03143 0.39568 C -0.03195 0.39845 -0.03212 0.40185 -0.03247 0.40493 C -0.03316 0.40987 -0.03386 0.41481 -0.03455 0.41975 C -0.0349 0.42222 -0.0349 0.425 -0.03559 0.42716 C -0.03785 0.43271 -0.03785 0.43333 -0.0408 0.43827 C -0.04688 0.44722 -0.04341 0.4395 -0.04705 0.44938 C -0.04913 0.46296 -0.04705 0.45061 -0.05018 0.46419 C -0.0507 0.46574 -0.0507 0.4679 -0.05122 0.46975 C -0.05209 0.47191 -0.05348 0.47314 -0.05434 0.4753 C -0.05591 0.4787 -0.05712 0.48271 -0.05851 0.48642 L -0.06059 0.49197 C -0.06302 0.51265 -0.06059 0.48734 -0.06059 0.5216 C -0.06059 0.54537 -0.06025 0.54166 -0.06268 0.55493 C -0.06302 0.55926 -0.06337 0.56358 -0.06372 0.5679 C -0.06407 0.56975 -0.06459 0.57129 -0.06476 0.57345 C -0.06823 0.6 -0.06545 0.58395 -0.06788 0.59753 C -0.06684 0.6037 -0.0658 0.60987 -0.06476 0.61605 C -0.06216 0.63209 -0.06528 0.61543 -0.06268 0.62901 C -0.06302 0.63827 -0.0632 0.64753 -0.06372 0.65679 C -0.06389 0.65864 -0.06441 0.66049 -0.06476 0.66234 C -0.06545 0.66543 -0.06632 0.66821 -0.06684 0.6716 C -0.06736 0.67376 -0.06754 0.67654 -0.06788 0.67901 C -0.06893 0.68333 -0.07188 0.69197 -0.07309 0.69568 C -0.07379 0.69753 -0.07466 0.69907 -0.07518 0.70123 C -0.07952 0.71635 -0.0724 0.69629 -0.0783 0.71234 C -0.07865 0.71543 -0.07917 0.71851 -0.07934 0.7216 C -0.07986 0.72716 -0.07986 0.73271 -0.08038 0.73827 C -0.08091 0.74197 -0.08316 0.75277 -0.08455 0.75679 C -0.08542 0.75895 -0.08663 0.7608 -0.08768 0.76234 C -0.09045 0.76574 -0.09532 0.7679 -0.09809 0.76975 C -0.09913 0.77037 -0.10035 0.77037 -0.10122 0.7716 C -0.10226 0.77284 -0.10348 0.77376 -0.10434 0.7753 C -0.10591 0.77685 -0.10712 0.77932 -0.10851 0.78086 C -0.1257 0.79598 -0.10625 0.7753 -0.11893 0.78827 C -0.12014 0.78919 -0.12118 0.79043 -0.12205 0.79197 C -0.12327 0.79351 -0.12396 0.79598 -0.12518 0.79753 C -0.12657 0.79876 -0.12795 0.79876 -0.12934 0.79938 C -0.13038 0.80061 -0.13143 0.80216 -0.13247 0.80308 C -0.1375 0.80679 -0.13976 0.80709 -0.14497 0.80864 C -0.14532 0.81419 -0.14532 0.81975 -0.14601 0.8253 C -0.14653 0.82777 -0.14757 0.83024 -0.14809 0.83271 C -0.15 0.83981 -0.14966 0.84166 -0.15226 0.84753 C -0.1533 0.84938 -0.15417 0.85185 -0.15538 0.85308 C -0.15747 0.85493 -0.1599 0.85463 -0.16163 0.85679 L -0.16476 0.86049 C -0.16823 0.86913 -0.1665 0.86389 -0.16893 0.87716 L -0.16997 0.88271 C -0.17084 0.89537 -0.17049 0.89845 -0.17205 0.90864 C -0.17275 0.91234 -0.17292 0.91635 -0.17413 0.91975 C -0.17691 0.92685 -0.17587 0.92314 -0.17726 0.93086 C -0.17709 0.9358 -0.17743 0.95092 -0.17518 0.95864 C -0.17466 0.96049 -0.17379 0.96234 -0.17309 0.96419 C -0.1724 0.97129 -0.17101 0.98148 -0.17101 0.98827 C -0.17101 0.99012 -0.17136 0.99228 -0.17205 0.99382 C -0.17292 0.99506 -0.17431 0.99475 -0.17518 0.99568 C -0.17639 0.9966 -0.17726 0.99814 -0.1783 0.99938 C -0.18108 1.02284 -0.17743 0.99753 -0.18143 1.01419 C -0.18212 1.01635 -0.18212 1.01913 -0.18247 1.0216 C -0.18525 1.03796 -0.18143 1.00987 -0.18559 1.04012 C -0.18611 1.04321 -0.18629 1.04629 -0.18663 1.04938 C -0.18629 1.06543 -0.18663 1.08179 -0.18455 1.09753 C -0.18438 1.09938 -0.18403 1.10123 -0.18351 1.10308 C -0.18247 1.10679 -0.17952 1.11265 -0.1783 1.11605 C -0.17761 1.11821 -0.17709 1.12098 -0.17622 1.12345 C -0.17223 1.13642 -0.17396 1.12808 -0.17205 1.13827 C -0.1717 1.14321 -0.17153 1.14814 -0.17101 1.15308 C -0.17049 1.15956 -0.16979 1.16574 -0.16788 1.1716 C -0.16719 1.17438 -0.16615 1.17685 -0.16476 1.17901 C -0.16389 1.18055 -0.16268 1.18148 -0.16163 1.18271 C -0.15938 1.19537 -0.16216 1.17963 -0.15955 1.19753 C -0.15938 1.19938 -0.15886 1.20123 -0.15851 1.20308 C -0.15816 1.20555 -0.15712 1.20802 -0.15747 1.21049 C -0.15764 1.21172 -0.15886 1.21049 -0.15955 1.21049 " pathEditMode="relative" ptsTypes="AAAAAAAAAAAAAAAAAAAAAAAAAAAAAAAAAAAAAAAAAAAAAAAAAAAAAAAAAAAAAAAAAAAAAAAAAAAAAAAAAAAAAAAAAAAAAAAAAAAA">
                                      <p:cBhvr>
                                        <p:cTn id="54" dur="11750" fill="hold"/>
                                        <p:tgtEl>
                                          <p:spTgt spid="59"/>
                                        </p:tgtEl>
                                        <p:attrNameLst>
                                          <p:attrName>ppt_x</p:attrName>
                                          <p:attrName>ppt_y</p:attrName>
                                        </p:attrNameLst>
                                      </p:cBhvr>
                                    </p:animMotion>
                                  </p:childTnLst>
                                </p:cTn>
                              </p:par>
                              <p:par>
                                <p:cTn id="55" presetID="0" presetClass="path" presetSubtype="0" fill="hold" nodeType="withEffect">
                                  <p:stCondLst>
                                    <p:cond delay="2000"/>
                                  </p:stCondLst>
                                  <p:childTnLst>
                                    <p:animMotion origin="layout" path="M -0.00156 -0.00061 L -0.00156 -0.00061 C -0.00677 0.00371 -0.01215 0.00772 -0.01719 0.01235 C -0.01945 0.01451 -0.0224 0.01575 -0.02344 0.01976 C -0.02882 0.04013 -0.03073 0.06266 -0.03594 0.08272 C -0.0434 0.11142 -0.04115 0.09846 -0.04427 0.12161 C -0.04149 0.18396 -0.0375 0.18889 -0.04844 0.24754 C -0.05087 0.25988 -0.05538 0.27099 -0.05885 0.28241 C -0.05955 0.28457 -0.0651 0.30093 -0.06719 0.30463 C -0.06823 0.30649 -0.06945 0.3071 -0.07031 0.30865 C -0.07222 0.31142 -0.07361 0.31513 -0.07552 0.31791 C -0.07986 0.32377 -0.08559 0.32717 -0.08906 0.33457 L -0.09635 0.34939 C -0.09601 0.35186 -0.09618 0.35463 -0.09531 0.35649 C -0.09462 0.35865 -0.09323 0.35865 -0.09219 0.3605 C -0.09097 0.36266 -0.0882 0.37007 -0.08698 0.37346 C -0.08455 0.39136 -0.08785 0.3713 -0.08385 0.38642 C -0.08229 0.39229 -0.08177 0.39939 -0.07969 0.40494 L -0.07552 0.41605 C -0.07622 0.42717 -0.07622 0.43828 -0.0776 0.44908 C -0.0783 0.4534 -0.08056 0.45649 -0.08177 0.4605 C -0.08559 0.47161 -0.08385 0.46667 -0.08698 0.47531 C -0.08767 0.47963 -0.08837 0.48396 -0.08906 0.48828 C -0.09028 0.49507 -0.09097 0.50186 -0.09427 0.50679 C -0.09514 0.50803 -0.09653 0.50741 -0.0974 0.50834 L -0.10677 0.51945 L -0.1099 0.52346 L -0.11302 0.52717 C -0.11788 0.53982 -0.11649 0.53396 -0.11823 0.54383 C -0.11788 0.54908 -0.1184 0.55494 -0.11719 0.56019 C -0.11684 0.56235 -0.11493 0.56235 -0.11406 0.5642 C -0.11007 0.57315 -0.11684 0.56729 -0.1099 0.5713 C -0.1092 0.57346 -0.10851 0.575 -0.10781 0.57717 C -0.1066 0.58149 -0.10573 0.58704 -0.10469 0.59167 C -0.10573 0.60741 -0.10642 0.62284 -0.10781 0.63828 C -0.10816 0.64136 -0.1092 0.64445 -0.1099 0.64754 C -0.11059 0.64939 -0.11129 0.65124 -0.11198 0.65278 C -0.11372 0.65649 -0.11597 0.66019 -0.11823 0.66235 C -0.12083 0.66451 -0.12292 0.6642 -0.12552 0.66605 C -0.12708 0.66698 -0.1283 0.66852 -0.12969 0.66976 C -0.13142 0.67068 -0.13524 0.67161 -0.13698 0.67315 C -0.14722 0.68334 -0.13941 0.67902 -0.1474 0.68272 C -0.14844 0.68396 -0.14948 0.68519 -0.15052 0.68642 C -0.15156 0.68704 -0.15278 0.68704 -0.15365 0.68828 C -0.15504 0.68951 -0.15573 0.69198 -0.15677 0.69352 C -0.16215 0.70155 -0.16111 0.69383 -0.16719 0.7105 L -0.17135 0.72161 C -0.1717 0.73149 -0.17101 0.74136 -0.1724 0.75124 C -0.17274 0.75278 -0.17882 0.75865 -0.17969 0.7605 C -0.18195 0.76389 -0.18594 0.77161 -0.18594 0.77161 C -0.18767 0.78025 -0.18854 0.78303 -0.18906 0.79198 C -0.18958 0.79784 -0.18958 0.80433 -0.1901 0.8105 C -0.19028 0.81235 -0.19063 0.81451 -0.19115 0.81575 C -0.19323 0.82007 -0.19583 0.82007 -0.19844 0.82161 C -0.2007 0.82254 -0.20469 0.825 -0.20469 0.825 C -0.20573 0.84692 -0.20313 0.86235 -0.20885 0.87871 C -0.2099 0.88149 -0.21076 0.88396 -0.21198 0.88612 C -0.21302 0.88797 -0.21406 0.88889 -0.2151 0.89013 C -0.21892 0.90957 -0.21823 0.90402 -0.2151 0.94383 C -0.21493 0.94723 -0.20747 0.95402 -0.20677 0.95494 C -0.20573 0.95741 -0.20486 0.95988 -0.20365 0.96235 C -0.20139 0.96667 -0.19792 0.96976 -0.19635 0.97531 C -0.19566 0.97778 -0.19514 0.98025 -0.19427 0.98272 C -0.19132 0.99198 -0.19288 0.98426 -0.1901 0.99568 C -0.18924 0.99939 -0.18872 1.00463 -0.18802 1.00834 C -0.18837 1.0142 -0.18872 1.01976 -0.18906 1.02531 C -0.18941 1.02717 -0.18958 1.02933 -0.1901 1.03056 C -0.19097 1.03241 -0.19219 1.03303 -0.19323 1.03457 C -0.19358 1.03642 -0.19392 1.03828 -0.19427 1.03982 C -0.19583 1.04507 -0.19948 1.05217 -0.20156 1.05494 C -0.20313 1.05679 -0.20521 1.0571 -0.20677 1.05834 C -0.20833 1.05957 -0.20955 1.06112 -0.21094 1.06204 C -0.21198 1.06297 -0.2132 1.06328 -0.21406 1.0642 C -0.21597 1.06513 -0.21754 1.06667 -0.21927 1.06791 C -0.22135 1.07284 -0.22361 1.07747 -0.22552 1.08241 C -0.22622 1.08457 -0.22691 1.08642 -0.2276 1.08828 C -0.22865 1.09013 -0.22969 1.09167 -0.23073 1.09383 C -0.23108 1.10062 -0.23108 1.10741 -0.23177 1.1142 C -0.23247 1.11914 -0.23455 1.12377 -0.2349 1.12902 C -0.23594 1.13858 -0.23559 1.14846 -0.23594 1.15865 C -0.23559 1.17994 -0.2349 1.20155 -0.2349 1.22315 C -0.2349 1.23704 -0.23542 1.25062 -0.23594 1.2642 C -0.23611 1.26791 -0.23663 1.27161 -0.23698 1.27531 C -0.23767 1.27902 -0.23906 1.28612 -0.23906 1.28612 L -0.23802 1.3676 " pathEditMode="relative" ptsTypes="AAAAAAAAAAAAAAAAAAAAAAAAAAAAAAAAAAAAAAAAAAAAAAAAAAAAAAAAAAAAAAAAAAAAAAAAAAAAAAAAAAAAA">
                                      <p:cBhvr>
                                        <p:cTn id="56" dur="12000" fill="hold"/>
                                        <p:tgtEl>
                                          <p:spTgt spid="44"/>
                                        </p:tgtEl>
                                        <p:attrNameLst>
                                          <p:attrName>ppt_x</p:attrName>
                                          <p:attrName>ppt_y</p:attrName>
                                        </p:attrNameLst>
                                      </p:cBhvr>
                                    </p:animMotion>
                                  </p:childTnLst>
                                </p:cTn>
                              </p:par>
                              <p:par>
                                <p:cTn id="57" presetID="0" presetClass="path" presetSubtype="0" fill="hold" nodeType="withEffect">
                                  <p:stCondLst>
                                    <p:cond delay="5000"/>
                                  </p:stCondLst>
                                  <p:childTnLst>
                                    <p:animMotion origin="layout" path="M 0.00052 -0.00679 L 0.00052 -0.00679 C -0.00365 0.00061 -0.01059 0.01142 -0.01406 0.02129 C -0.01493 0.02345 -0.01545 0.02623 -0.01615 0.0287 C -0.01684 0.03055 -0.01771 0.03209 -0.01823 0.03426 C -0.01875 0.0358 -0.01875 0.03796 -0.01927 0.03981 C -0.02049 0.04259 -0.02222 0.04444 -0.02344 0.04722 C -0.02431 0.04876 -0.02483 0.05092 -0.02552 0.05277 C -0.02483 0.06018 -0.02448 0.06759 -0.02344 0.075 C -0.02309 0.07747 -0.02188 0.07963 -0.02136 0.0824 C -0.02066 0.08765 -0.02084 0.09351 -0.02031 0.09907 C -0.02014 0.10277 -0.01962 0.10648 -0.01927 0.11018 C -0.01893 0.11882 -0.01893 0.12747 -0.01823 0.13611 C -0.01771 0.14475 -0.01441 0.15 -0.01823 0.16018 C -0.02066 0.16605 -0.02795 0.1679 -0.03177 0.16944 C -0.03351 0.17129 -0.03525 0.17345 -0.03698 0.175 C -0.03941 0.17654 -0.04202 0.17654 -0.04427 0.1787 C -0.05677 0.1895 -0.03802 0.17993 -0.05156 0.18611 C -0.05226 0.18796 -0.05278 0.19012 -0.05365 0.19166 C -0.05625 0.19475 -0.06198 0.19907 -0.06198 0.19907 C -0.07361 0.22438 -0.06146 0.19506 -0.06719 0.21574 C -0.06841 0.21913 -0.07136 0.22654 -0.07136 0.22654 C -0.07101 0.2358 -0.07153 0.24506 -0.07031 0.25432 C -0.06979 0.25864 -0.06702 0.26111 -0.06615 0.26543 C -0.06459 0.27376 -0.0658 0.26913 -0.06198 0.27839 C -0.06163 0.28024 -0.06146 0.28209 -0.06094 0.28395 C -0.05886 0.29259 -0.05799 0.29166 -0.05677 0.30247 C -0.05643 0.30555 -0.05625 0.30864 -0.05573 0.31172 C -0.05556 0.31419 -0.05504 0.31635 -0.05469 0.31913 C -0.05434 0.32253 -0.05417 0.32654 -0.05365 0.33024 C -0.05313 0.33395 -0.05226 0.33734 -0.05156 0.34135 C -0.05052 0.34845 -0.04948 0.35617 -0.04844 0.36358 C -0.04879 0.37963 -0.04861 0.39568 -0.04948 0.41172 C -0.04983 0.41481 -0.05104 0.41759 -0.05156 0.42098 C -0.05209 0.42284 -0.05174 0.4253 -0.05261 0.42654 C -0.05538 0.42963 -0.06007 0.42993 -0.06302 0.43209 C -0.06459 0.43302 -0.0658 0.43456 -0.06719 0.4358 C -0.07205 0.44814 -0.06875 0.43765 -0.07031 0.46543 C -0.07066 0.46913 -0.07101 0.47284 -0.07136 0.47654 C -0.0717 0.49012 -0.07188 0.5037 -0.0724 0.51728 C -0.07275 0.52222 -0.07656 0.53179 -0.07761 0.53395 C -0.08264 0.54259 -0.07882 0.53672 -0.08386 0.54321 C -0.08507 0.54444 -0.08959 0.55092 -0.09115 0.55247 C -0.09584 0.55648 -0.0967 0.55617 -0.10156 0.55802 C -0.10434 0.57654 -0.1007 0.55 -0.10365 0.58209 C -0.10417 0.58611 -0.10591 0.59166 -0.10677 0.59506 C -0.10712 0.59938 -0.10712 0.6037 -0.10781 0.60802 C -0.10834 0.61018 -0.10972 0.61142 -0.1099 0.61358 C -0.11077 0.61882 -0.11059 0.62469 -0.11094 0.63024 C -0.11129 0.63209 -0.11163 0.63395 -0.11198 0.6358 C -0.11233 0.63858 -0.11389 0.66203 -0.11511 0.66358 C -0.125 0.675 -0.10955 0.6574 -0.12344 0.67098 C -0.1257 0.67314 -0.12761 0.67623 -0.12969 0.67839 C -0.13108 0.67963 -0.13264 0.68024 -0.13386 0.68209 C -0.13507 0.68364 -0.13594 0.6858 -0.13698 0.68765 C -0.13802 0.68888 -0.13924 0.68981 -0.14011 0.69135 C -0.14931 0.70277 -0.14011 0.69166 -0.1474 0.70061 C -0.14809 0.70247 -0.14861 0.70463 -0.14948 0.70617 C -0.15052 0.70771 -0.15191 0.70802 -0.15261 0.70987 C -0.15347 0.71203 -0.1533 0.71481 -0.15365 0.71728 C -0.154 0.71913 -0.15434 0.72098 -0.15469 0.72284 C -0.15434 0.73086 -0.15469 0.73888 -0.15365 0.74691 C -0.1533 0.7503 -0.15156 0.75277 -0.15052 0.75617 C -0.15018 0.75771 -0.14983 0.75987 -0.14948 0.76172 C -0.14601 0.78271 -0.14879 0.76759 -0.14636 0.78024 C -0.14653 0.78271 -0.14775 0.80771 -0.14844 0.81358 C -0.14983 0.8216 -0.15087 0.82037 -0.15365 0.82654 C -0.16059 0.84135 -0.15052 0.82345 -0.15886 0.8358 C -0.16007 0.83734 -0.16077 0.83981 -0.16198 0.84135 C -0.16372 0.8429 -0.16563 0.84351 -0.16719 0.84506 C -0.175 0.85092 -0.16823 0.8466 -0.17448 0.85061 C -0.17552 0.85247 -0.17656 0.85432 -0.17761 0.85617 C -0.179 0.85802 -0.18091 0.85926 -0.18177 0.86172 C -0.18577 0.87098 -0.18872 0.88148 -0.19219 0.89135 C -0.19427 0.89691 -0.19531 0.89969 -0.19844 0.90432 C -0.20052 0.90709 -0.20261 0.90926 -0.20469 0.91172 C -0.20573 0.91296 -0.20677 0.91419 -0.20781 0.91543 C -0.21129 0.91821 -0.21354 0.91975 -0.21615 0.92469 C -0.21754 0.92685 -0.21823 0.92963 -0.21927 0.93209 C -0.21962 0.93456 -0.21997 0.93703 -0.22031 0.9395 C -0.22066 0.94135 -0.22118 0.94321 -0.22136 0.94506 C -0.22222 0.95061 -0.22275 0.95617 -0.22344 0.96172 C -0.22413 0.96543 -0.225 0.96882 -0.22552 0.97284 C -0.22587 0.9753 -0.22622 0.97777 -0.22656 0.98024 C -0.22691 0.98209 -0.22743 0.98395 -0.22761 0.9858 C -0.23004 1.00247 -0.22709 0.98765 -0.23073 1.00432 C -0.23038 1.00926 -0.23038 1.01419 -0.22969 1.01913 C -0.22934 1.0216 -0.2283 1.02376 -0.22761 1.02654 C -0.22726 1.02839 -0.22691 1.03024 -0.22656 1.03209 C -0.22691 1.0395 -0.22604 1.04753 -0.22761 1.05432 C -0.22847 1.0574 -0.23108 1.05709 -0.23281 1.05802 C -0.23559 1.05895 -0.23837 1.05926 -0.24115 1.05987 C -0.24236 1.06605 -0.24202 1.06543 -0.24427 1.07098 C -0.24827 1.07993 -0.25122 1.08919 -0.25677 1.09506 C -0.25799 1.09629 -0.2632 1.09814 -0.26406 1.09876 C -0.26441 1.10123 -0.26511 1.10339 -0.26511 1.10617 C -0.2658 1.12716 -0.26493 1.14814 -0.26615 1.16913 C -0.26632 1.1716 -0.26841 1.17253 -0.26927 1.17469 C -0.27222 1.18055 -0.27188 1.18271 -0.27552 1.1858 C -0.27761 1.18734 -0.28177 1.1895 -0.28177 1.1895 C -0.28247 1.19135 -0.28299 1.19351 -0.28386 1.19506 C -0.28716 1.19969 -0.28889 1.2003 -0.29219 1.20247 C -0.30035 1.21666 -0.29011 1.20061 -0.29948 1.20987 C -0.30677 1.21697 -0.30295 1.21574 -0.30781 1.22469 C -0.30886 1.22623 -0.3099 1.22716 -0.31094 1.22839 C -0.31129 1.2395 -0.31146 1.25061 -0.31198 1.26172 C -0.31216 1.26358 -0.3125 1.26543 -0.31302 1.26728 C -0.31424 1.27068 -0.31545 1.27407 -0.31719 1.27654 C -0.31841 1.27808 -0.31997 1.27777 -0.32136 1.27839 C -0.32205 1.28024 -0.32309 1.28179 -0.32344 1.28395 C -0.32413 1.28611 -0.32413 1.28888 -0.32448 1.29135 C -0.32518 1.29506 -0.32604 1.29876 -0.32656 1.30247 C -0.32691 1.30339 -0.32813 1.31358 -0.32865 1.31543 C -0.329 1.31574 -0.32934 1.31543 -0.32969 1.31543 " pathEditMode="relative" ptsTypes="AAAAAAAAAAAAAAAAAAAAAAAAAAAAAAAAAAAAAAAAAAAAAAAAAAAAAAAAAAAAAAAAAAAAAAAAAAAAAAAAAAAAAAAAAAAAAAAAAAAAAAAAAAAAAAAAAA">
                                      <p:cBhvr>
                                        <p:cTn id="58" dur="12250" fill="hold"/>
                                        <p:tgtEl>
                                          <p:spTgt spid="46"/>
                                        </p:tgtEl>
                                        <p:attrNameLst>
                                          <p:attrName>ppt_x</p:attrName>
                                          <p:attrName>ppt_y</p:attrName>
                                        </p:attrNameLst>
                                      </p:cBhvr>
                                    </p:animMotion>
                                  </p:childTnLst>
                                </p:cTn>
                              </p:par>
                              <p:par>
                                <p:cTn id="59" presetID="0" presetClass="path" presetSubtype="0" fill="hold" nodeType="withEffect">
                                  <p:stCondLst>
                                    <p:cond delay="4000"/>
                                  </p:stCondLst>
                                  <p:childTnLst>
                                    <p:animMotion origin="layout" path="M -0.00121 -0.00277 L -0.00121 -0.00277 C -0.01198 0.00772 -0.02309 0.0176 -0.0335 0.02871 C -0.03524 0.03056 -0.03732 0.03179 -0.03871 0.03426 C -0.0493 0.05309 -0.05017 0.05649 -0.05642 0.07315 C -0.05677 0.07747 -0.05764 0.08179 -0.05746 0.08612 C -0.05694 0.12377 -0.05642 0.12346 -0.05329 0.15093 C -0.05468 0.16821 -0.05486 0.18581 -0.05746 0.20278 C -0.05989 0.21791 -0.06545 0.2247 -0.07204 0.23241 C -0.07847 0.23951 -0.07552 0.23241 -0.0835 0.24352 C -0.08593 0.24661 -0.08767 0.25093 -0.08975 0.25463 C -0.09079 0.25649 -0.09236 0.25772 -0.09288 0.26019 C -0.09357 0.26266 -0.09427 0.26513 -0.09496 0.2676 C -0.09635 0.27068 -0.09809 0.27346 -0.09913 0.27686 C -0.10086 0.28149 -0.10329 0.29167 -0.10329 0.29167 C -0.10364 0.29476 -0.10382 0.29784 -0.10434 0.30093 C -0.10486 0.3034 -0.10642 0.30556 -0.10642 0.30834 C -0.10746 0.33519 -0.10677 0.36266 -0.10746 0.38982 C -0.10816 0.41019 -0.10885 0.4071 -0.11163 0.4213 C -0.1125 0.4247 -0.11371 0.43241 -0.11371 0.43241 C -0.11406 0.4497 -0.11423 0.46698 -0.11475 0.48426 C -0.11493 0.48673 -0.11545 0.4892 -0.11579 0.49167 C -0.11649 0.49414 -0.11701 0.49692 -0.11788 0.49908 C -0.11875 0.50062 -0.11996 0.50155 -0.121 0.50278 C -0.1217 0.50463 -0.12222 0.50649 -0.12309 0.50834 C -0.12569 0.51266 -0.12639 0.51142 -0.12934 0.51389 C -0.1309 0.51482 -0.13229 0.51605 -0.1335 0.5176 C -0.13645 0.52037 -0.14461 0.53179 -0.14496 0.53241 C -0.15017 0.5392 -0.14826 0.53519 -0.15121 0.54352 C -0.15156 0.55093 -0.15139 0.55834 -0.15225 0.56575 C -0.15451 0.58025 -0.15816 0.59383 -0.16059 0.60834 C -0.16128 0.61112 -0.16128 0.61451 -0.16163 0.6176 C -0.16198 0.61945 -0.1625 0.62099 -0.16267 0.62315 C -0.16319 0.62531 -0.16354 0.62778 -0.16371 0.63056 C -0.16423 0.63426 -0.16475 0.64136 -0.16579 0.64537 C -0.16649 0.64723 -0.16684 0.6497 -0.16788 0.65093 C -0.16909 0.65216 -0.17066 0.65216 -0.17204 0.65278 C -0.17482 0.6534 -0.17777 0.65371 -0.18038 0.65463 C -0.18194 0.65494 -0.18316 0.65587 -0.18454 0.65649 C -0.18628 0.6571 -0.18802 0.65772 -0.18975 0.65834 C -0.19114 0.66019 -0.19253 0.66235 -0.19392 0.66389 C -0.20017 0.67007 -0.19479 0.65772 -0.20329 0.67315 C -0.20833 0.68179 -0.20573 0.67933 -0.21059 0.68241 C -0.21093 0.68426 -0.21128 0.68612 -0.21163 0.68797 C -0.21232 0.68982 -0.21371 0.69105 -0.21371 0.69352 C -0.21406 0.69784 -0.21284 0.71112 -0.21163 0.7176 C -0.21111 0.72068 -0.21024 0.72377 -0.20954 0.72686 C -0.21944 0.73241 -0.20625 0.72531 -0.23038 0.73056 C -0.23836 0.7321 -0.23889 0.73488 -0.246 0.73982 C -0.24739 0.74044 -0.24895 0.74075 -0.25017 0.74167 C -0.25139 0.74198 -0.25225 0.74291 -0.25329 0.74352 C -0.25503 0.74414 -0.25694 0.74445 -0.2585 0.74537 C -0.25972 0.74568 -0.26059 0.74661 -0.26163 0.74723 C -0.26302 0.74784 -0.26458 0.74815 -0.26579 0.74908 C -0.2677 0.75 -0.26927 0.75155 -0.271 0.75278 C -0.27274 0.7534 -0.27465 0.75371 -0.27621 0.75463 C -0.27743 0.75494 -0.27829 0.75587 -0.27934 0.75649 C -0.28003 0.75896 -0.28107 0.76112 -0.28142 0.76389 C -0.2835 0.77531 -0.28385 0.78797 -0.28663 0.79908 C -0.28802 0.80402 -0.2927 0.80433 -0.29496 0.80649 C -0.29618 0.80741 -0.29704 0.80926 -0.29809 0.81019 C -0.30052 0.81142 -0.30312 0.81112 -0.30538 0.81204 C -0.30833 0.81297 -0.31007 0.81389 -0.31267 0.81575 C -0.31718 0.82747 -0.31284 0.81389 -0.31579 0.83426 C -0.31632 0.83673 -0.31736 0.83889 -0.31788 0.84167 C -0.31892 0.8463 -0.31875 0.85 -0.31996 0.85463 C -0.3217 0.8605 -0.32465 0.86513 -0.32829 0.8676 L -0.33142 0.86945 C -0.33316 0.87377 -0.33454 0.87686 -0.33559 0.88241 C -0.33611 0.88457 -0.33628 0.88735 -0.33663 0.88982 C -0.33698 0.89167 -0.3375 0.89321 -0.33767 0.89537 C -0.34045 0.91142 -0.33732 0.89476 -0.33975 0.90834 C -0.34045 0.91605 -0.34062 0.92315 -0.34184 0.93056 C -0.34253 0.93365 -0.3434 0.93642 -0.34392 0.93982 C -0.34444 0.94198 -0.34461 0.94476 -0.34496 0.94723 C -0.34861 0.96482 -0.34757 0.96112 -0.35121 0.9713 C -0.35052 0.97871 -0.35069 0.98642 -0.34913 0.99352 C -0.34843 0.99723 -0.34618 0.99908 -0.34496 1.00278 C -0.34427 1.00494 -0.34444 1.00772 -0.34392 1.01019 C -0.3434 1.01266 -0.34253 1.01513 -0.34184 1.0176 C -0.33854 1.0497 -0.33802 1.03982 -0.346 1.08426 C -0.34652 1.08673 -0.34791 1.08828 -0.34913 1.08982 C -0.35382 1.09476 -0.35451 1.09167 -0.3585 1.09723 C -0.36024 1.09908 -0.36145 1.10186 -0.36267 1.10463 C -0.36632 1.11173 -0.36336 1.10926 -0.36788 1.1176 C -0.36892 1.11914 -0.36996 1.12007 -0.371 1.1213 C -0.37586 1.13396 -0.37448 1.12809 -0.37621 1.13797 C -0.37656 1.15278 -0.37673 1.1676 -0.37725 1.18241 C -0.37743 1.18426 -0.3776 1.18642 -0.37829 1.18797 C -0.37951 1.18982 -0.38125 1.19013 -0.38246 1.19167 C -0.38368 1.1926 -0.38454 1.19414 -0.38559 1.19537 C -0.38732 1.19661 -0.38906 1.19784 -0.39079 1.19908 C -0.39184 1.1997 -0.39305 1.2 -0.39392 1.20093 C -0.40208 1.20803 -0.39236 1.20155 -0.40017 1.20649 C -0.40052 1.20803 -0.40173 1.22068 -0.40225 1.22315 C -0.40277 1.225 -0.40364 1.22686 -0.40434 1.22871 C -0.40468 1.23118 -0.4052 1.23334 -0.40538 1.23612 C -0.40729 1.25031 -0.40729 1.25 -0.4085 1.26204 C -0.40746 1.27562 -0.4092 1.27192 -0.40642 1.27686 " pathEditMode="relative" ptsTypes="AAAAAAAAAAAAAAAAAAAAAAAAAAAAAAAAAAAAAAAAAAAAAAAAAAAAAAAAAAAAAAAAAAAAAAAAAAAAAAAAAAAAAAAAAAAAAAAAAAA">
                                      <p:cBhvr>
                                        <p:cTn id="60" dur="12000" fill="hold"/>
                                        <p:tgtEl>
                                          <p:spTgt spid="37"/>
                                        </p:tgtEl>
                                        <p:attrNameLst>
                                          <p:attrName>ppt_x</p:attrName>
                                          <p:attrName>ppt_y</p:attrName>
                                        </p:attrNameLst>
                                      </p:cBhvr>
                                    </p:animMotion>
                                  </p:childTnLst>
                                </p:cTn>
                              </p:par>
                              <p:par>
                                <p:cTn id="61" presetID="0" presetClass="path" presetSubtype="0" fill="hold" nodeType="withEffect">
                                  <p:stCondLst>
                                    <p:cond delay="1750"/>
                                  </p:stCondLst>
                                  <p:childTnLst>
                                    <p:animMotion origin="layout" path="M 0.00243 -0.00524 L 0.00243 -0.00524 C -0.00573 0.01513 -0.00139 0.00926 -0.00799 0.01698 C -0.0092 0.02099 -0.01059 0.02685 -0.01215 0.02994 C -0.01424 0.03395 -0.0184 0.04105 -0.0184 0.04105 C -0.0217 0.05864 -0.01736 0.03303 -0.01736 0.07624 C -0.01736 0.0858 -0.01771 0.09537 -0.01944 0.10432 C -0.02031 0.10741 -0.02309 0.10772 -0.02465 0.10957 C -0.03542 0.12222 -0.02361 0.11019 -0.03194 0.11698 C -0.03542 0.11945 -0.03785 0.12284 -0.04132 0.12438 C -0.04566 0.12593 -0.04861 0.12593 -0.05278 0.12809 C -0.05504 0.12901 -0.05694 0.13087 -0.05903 0.13179 C -0.06111 0.13241 -0.06528 0.13334 -0.06736 0.1355 C -0.06962 0.13735 -0.07292 0.14259 -0.07465 0.14476 C -0.07934 0.14969 -0.07865 0.14599 -0.08194 0.15401 C -0.08351 0.15741 -0.08611 0.16513 -0.08611 0.16513 C -0.08576 0.1713 -0.08594 0.17747 -0.08507 0.18364 C -0.0849 0.18611 -0.08351 0.18827 -0.08299 0.19105 C -0.08247 0.19445 -0.08229 0.19846 -0.08194 0.20216 C -0.08229 0.21698 -0.08247 0.23179 -0.08299 0.24661 C -0.08316 0.24908 -0.08351 0.25155 -0.08403 0.25401 C -0.08785 0.26729 -0.08715 0.26482 -0.09444 0.26698 C -0.09722 0.26759 -0.1 0.2679 -0.10278 0.26883 L -0.11007 0.27068 C -0.11042 0.28241 -0.1092 0.29445 -0.11111 0.30556 C -0.11163 0.30864 -0.11476 0.30679 -0.11632 0.30772 C -0.11754 0.30803 -0.1184 0.30895 -0.11944 0.30957 C -0.12483 0.31142 -0.13351 0.3142 -0.13924 0.31513 C -0.14479 0.31574 -0.15035 0.31636 -0.1559 0.31698 C -0.15694 0.31821 -0.15799 0.31945 -0.15903 0.32068 C -0.16615 0.32685 -0.15764 0.31636 -0.16632 0.32624 C -0.16788 0.32778 -0.1691 0.33025 -0.17049 0.33179 C -0.17153 0.33272 -0.17274 0.33272 -0.17361 0.33364 C -0.17552 0.33519 -0.17708 0.33735 -0.17882 0.3392 C -0.18681 0.34692 -0.17969 0.33858 -0.18611 0.34661 C -0.18681 0.34846 -0.18819 0.34969 -0.18819 0.35216 C -0.18854 0.35772 -0.18854 0.36358 -0.18715 0.36883 C -0.18594 0.37346 -0.18264 0.37531 -0.1809 0.37994 L -0.17882 0.3855 C -0.17847 0.39105 -0.17778 0.3963 -0.17778 0.40216 C -0.17778 0.40957 -0.18472 0.4179 -0.18611 0.42068 C -0.18854 0.42469 -0.18958 0.42716 -0.19236 0.42994 C -0.1934 0.43056 -0.19444 0.43117 -0.19549 0.43179 C -0.19653 0.43642 -0.19705 0.43951 -0.19757 0.44476 C -0.19809 0.44877 -0.19826 0.4534 -0.19861 0.45772 C -0.19948 0.4679 -0.19965 0.46821 -0.20069 0.47809 C -0.20191 0.5 -0.2026 0.5034 -0.20069 0.52809 C -0.20017 0.53611 -0.19826 0.53951 -0.19653 0.54661 C -0.19618 0.54815 -0.19583 0.55031 -0.19549 0.55216 C -0.19583 0.56019 -0.19514 0.56852 -0.19653 0.57624 C -0.19705 0.5784 -0.19931 0.57716 -0.20069 0.57809 C -0.21129 0.58334 -0.19497 0.57593 -0.20799 0.58179 C -0.21007 0.58426 -0.21233 0.58642 -0.21424 0.5892 C -0.21944 0.59599 -0.21701 0.5929 -0.22153 0.59846 C -0.22639 0.61111 -0.225 0.60525 -0.22674 0.61513 C -0.22639 0.63364 -0.22569 0.65185 -0.22569 0.67068 C -0.22569 0.70648 -0.2224 0.70432 -0.22882 0.72068 C -0.22986 0.72315 -0.23073 0.72562 -0.23194 0.72809 C -0.23281 0.72963 -0.23403 0.73056 -0.23507 0.73179 C -0.23576 0.73364 -0.23629 0.7355 -0.23715 0.73735 C -0.23854 0.73951 -0.24271 0.74445 -0.24444 0.74661 C -0.24479 0.74908 -0.24549 0.75124 -0.24549 0.75401 C -0.24757 0.83334 -0.24219 0.80278 -0.24757 0.83179 C -0.24722 0.8392 -0.24722 0.84661 -0.24653 0.85401 C -0.24618 0.86019 -0.24514 0.85926 -0.2434 0.86513 C -0.24306 0.86667 -0.24271 0.86883 -0.24236 0.87068 C -0.24271 0.87377 -0.24254 0.87716 -0.2434 0.87994 C -0.2441 0.88148 -0.24566 0.88087 -0.24653 0.88179 C -0.24774 0.88272 -0.24861 0.88426 -0.24965 0.8855 C -0.25069 0.88858 -0.25208 0.89136 -0.25278 0.89476 C -0.25434 0.90185 -0.25486 0.90957 -0.2559 0.91698 C -0.25625 0.91883 -0.2566 0.92068 -0.25694 0.92253 C -0.2566 0.93179 -0.2566 0.94105 -0.2559 0.95031 C -0.2559 0.95216 -0.25521 0.95371 -0.25486 0.95587 C -0.25451 0.95988 -0.25434 0.96451 -0.25382 0.96883 C -0.2533 0.97315 -0.25191 0.97747 -0.25069 0.98179 C -0.25104 0.99167 -0.25104 1.00155 -0.25174 1.01142 C -0.25208 1.01389 -0.2533 1.01605 -0.25382 1.01883 C -0.25729 1.03272 -0.25122 1.01327 -0.25799 1.03364 C -0.2599 1.04722 -0.25799 1.03488 -0.26111 1.04846 C -0.26233 1.05278 -0.2625 1.05648 -0.26319 1.06142 C -0.26354 1.06327 -0.26389 1.06513 -0.26424 1.06698 C -0.26458 1.09043 -0.26476 1.11389 -0.26528 1.13735 C -0.26545 1.1392 -0.26597 1.14105 -0.26632 1.1429 C -0.26701 1.14476 -0.26771 1.14661 -0.2684 1.14846 C -0.26997 1.16451 -0.27014 1.15741 -0.26736 1.17809 C -0.26684 1.18303 -0.26597 1.18611 -0.26319 1.1892 C -0.26198 1.19043 -0.26042 1.19043 -0.25903 1.19105 C -0.25868 1.19414 -0.25833 1.19692 -0.25799 1.20031 C -0.25764 1.20371 -0.25764 1.20772 -0.25694 1.21142 C -0.2566 1.21327 -0.25573 1.21513 -0.25486 1.21698 C -0.25399 1.21852 -0.25243 1.21852 -0.25174 1.22068 L -0.25278 1.22438 " pathEditMode="relative" ptsTypes="AAAAAAAAAAAAAAAAAAAAAAAAAAAAAAAAAAAAAAAAAAAAAAAAAAAAAAAAAAAAAAAAAAAAAAAAAAAAAAAAAAAAAAAAAAAAA">
                                      <p:cBhvr>
                                        <p:cTn id="62" dur="12000" fill="hold"/>
                                        <p:tgtEl>
                                          <p:spTgt spid="32"/>
                                        </p:tgtEl>
                                        <p:attrNameLst>
                                          <p:attrName>ppt_x</p:attrName>
                                          <p:attrName>ppt_y</p:attrName>
                                        </p:attrNameLst>
                                      </p:cBhvr>
                                    </p:animMotion>
                                  </p:childTnLst>
                                </p:cTn>
                              </p:par>
                              <p:par>
                                <p:cTn id="63" presetID="0" presetClass="path" presetSubtype="0" fill="hold" nodeType="withEffect">
                                  <p:stCondLst>
                                    <p:cond delay="0"/>
                                  </p:stCondLst>
                                  <p:childTnLst>
                                    <p:animMotion origin="layout" path="M 1.94444E-6 3.58025E-6 L 1.94444E-6 0.00061 C -0.00417 0.00493 -0.00886 0.00987 -0.0125 0.01512 C -0.01372 0.01666 -0.01511 0.01913 -0.01563 0.02037 C -0.01684 0.02345 -0.01684 0.02592 -0.01788 0.02808 C -0.0191 0.03117 -0.02066 0.03302 -0.02205 0.03549 C -0.02674 0.04506 -0.02327 0.04135 -0.0283 0.04475 C -0.02969 0.0466 -0.0309 0.04845 -0.03247 0.05092 C -0.03386 0.05185 -0.03524 0.05247 -0.03646 0.05401 C -0.03889 0.0574 -0.04045 0.06265 -0.04306 0.06543 L -0.04584 0.06882 C -0.04688 0.07438 -0.04809 0.07993 -0.04913 0.08518 C -0.04931 0.08734 -0.05 0.08827 -0.05018 0.09012 C -0.05052 0.09413 -0.05087 0.09753 -0.05122 0.10154 C -0.05209 0.12747 -0.04965 0.12716 -0.05434 0.14197 C -0.05486 0.14444 -0.05556 0.14598 -0.05643 0.14753 C -0.05712 0.14938 -0.05834 0.15031 -0.05938 0.15123 C -0.06163 0.16327 -0.05851 0.15123 -0.06372 0.15895 C -0.06476 0.16049 -0.06511 0.16296 -0.0658 0.1645 C -0.06684 0.16635 -0.06771 0.16821 -0.06875 0.16975 C -0.06927 0.17314 -0.06962 0.17592 -0.06979 0.17932 C -0.07066 0.18271 -0.07188 0.18672 -0.07205 0.19043 C -0.07292 0.20648 -0.07188 0.22253 -0.07309 0.23889 C -0.07327 0.24135 -0.075 0.24413 -0.07622 0.24568 C -0.08472 0.25926 -0.07952 0.24938 -0.08559 0.25493 C -0.08837 0.25771 -0.08941 0.26018 -0.09167 0.26419 C -0.09514 0.2824 -0.08993 0.25432 -0.09497 0.27716 C -0.09584 0.28086 -0.09636 0.28487 -0.09705 0.28858 C -0.0974 0.29012 -0.09792 0.29166 -0.09809 0.29413 C -0.09844 0.29784 -0.09861 0.30185 -0.09913 0.30463 C -0.09948 0.3071 -0.09983 0.30864 -0.10018 0.31111 C -0.10278 0.32685 -0.09965 0.30987 -0.10209 0.32314 C -0.10261 0.32932 -0.10261 0.33456 -0.10313 0.34043 C -0.10365 0.3429 -0.10486 0.34537 -0.10538 0.34784 C -0.1059 0.35031 -0.1059 0.35308 -0.10643 0.35555 C -0.10781 0.36172 -0.11059 0.36821 -0.11268 0.37376 C -0.11337 0.37531 -0.11424 0.37685 -0.11476 0.37932 L -0.11684 0.38703 C -0.11649 0.40061 -0.11649 0.41358 -0.1158 0.42747 C -0.1158 0.42901 -0.11511 0.43055 -0.11476 0.43302 C -0.11441 0.4358 -0.11441 0.43919 -0.11354 0.44259 C -0.11337 0.44413 -0.11233 0.44598 -0.11163 0.44753 C -0.11129 0.45524 -0.11111 0.46234 -0.11059 0.46975 C -0.10972 0.48271 -0.10868 0.47253 -0.11059 0.48672 C -0.11094 0.48858 -0.11094 0.49105 -0.11163 0.49197 C -0.11285 0.49382 -0.11459 0.49444 -0.1158 0.49629 C -0.11806 0.49814 -0.12031 0.50031 -0.12205 0.50308 C -0.12431 0.5074 -0.12587 0.50926 -0.12726 0.51419 C -0.13038 0.52531 -0.12552 0.51481 -0.13143 0.52531 C -0.13177 0.52716 -0.13247 0.5287 -0.13247 0.53055 C -0.13247 0.54413 -0.13316 0.54845 -0.12934 0.55679 C -0.12847 0.55864 -0.12726 0.5608 -0.12622 0.56203 C -0.12656 0.56697 -0.12622 0.57129 -0.12726 0.57561 C -0.12778 0.57747 -0.12934 0.57808 -0.13038 0.57901 C -0.13264 0.58148 -0.13854 0.58395 -0.1408 0.58827 C -0.14462 0.59506 -0.14306 0.59506 -0.14601 0.60123 C -0.14705 0.6037 -0.14809 0.60524 -0.14913 0.60679 C -0.14983 0.61049 -0.1507 0.6145 -0.15122 0.61821 C -0.15174 0.62222 -0.15243 0.62747 -0.1533 0.63148 L -0.15538 0.63858 C -0.15504 0.64938 -0.15486 0.65987 -0.15434 0.66944 C -0.15417 0.67253 -0.15382 0.675 -0.1533 0.67716 C -0.15278 0.67932 -0.15191 0.68117 -0.15122 0.68302 C -0.15087 0.68889 -0.15 0.69907 -0.14913 0.70493 C -0.14861 0.70864 -0.14774 0.71265 -0.14705 0.71635 L -0.14601 0.72191 C -0.14636 0.72654 -0.1467 0.7321 -0.14705 0.73642 C -0.14827 0.74938 -0.15035 0.74506 -0.14705 0.76481 C -0.14636 0.76882 -0.14427 0.7716 -0.14288 0.77561 C -0.14219 0.77747 -0.14149 0.77932 -0.1408 0.78086 C -0.14115 0.78858 -0.14097 0.79629 -0.14184 0.80308 C -0.14254 0.80987 -0.14549 0.80926 -0.14809 0.81234 C -0.15278 0.81851 -0.15851 0.82253 -0.16163 0.83117 C -0.16649 0.84382 -0.16042 0.82777 -0.16684 0.84382 C -0.16754 0.84568 -0.16823 0.84753 -0.16893 0.85 C -0.16858 0.85154 -0.16858 0.85401 -0.16788 0.85524 C -0.16649 0.85833 -0.16024 0.8645 -0.15851 0.86605 C -0.15816 0.86882 -0.15834 0.87284 -0.15747 0.87561 C -0.15677 0.87808 -0.15521 0.87901 -0.15434 0.88148 C -0.15382 0.88302 -0.15365 0.88487 -0.1533 0.88642 C -0.15365 0.89753 -0.15243 0.90956 -0.15434 0.91975 C -0.15556 0.92654 -0.16077 0.92654 -0.16372 0.92901 C -0.16615 0.93148 -0.1684 0.93487 -0.16997 0.93858 C -0.17084 0.94012 -0.17136 0.94197 -0.17205 0.94351 C -0.1724 0.94629 -0.17222 0.94969 -0.17309 0.95123 C -0.17379 0.95277 -0.17535 0.95216 -0.17622 0.9537 C -0.17743 0.95463 -0.1783 0.9571 -0.17934 0.95895 C -0.17969 0.96327 -0.17934 0.96821 -0.18038 0.9716 C -0.18125 0.97531 -0.18334 0.97623 -0.18455 0.9787 C -0.18542 0.98179 -0.18594 0.98395 -0.18663 0.98703 C -0.1875 0.99568 -0.18785 1.00247 -0.18976 1.0108 C -0.19097 1.01543 -0.19254 1.02098 -0.19393 1.02531 C -0.19566 1.03148 -0.19636 1.03549 -0.19913 1.04074 C -0.21181 1.06296 -0.19879 1.03765 -0.20747 1.05092 C -0.20972 1.05524 -0.21788 1.07901 -0.21788 1.07932 C -0.21684 1.13086 -0.22518 1.15092 -0.21997 1.17006 " pathEditMode="relative" rAng="0" ptsTypes="AAAAAAAAAAAAAAAAAAAAAAAAAAAAAAAAAAAAAAAAAAAAAAAAAAAAAAAAAAAAAAAAAAAAAAAAAAAAAAAAAAAAAAAAAAAAAAAA">
                                      <p:cBhvr>
                                        <p:cTn id="64" dur="11000" fill="hold"/>
                                        <p:tgtEl>
                                          <p:spTgt spid="66"/>
                                        </p:tgtEl>
                                        <p:attrNameLst>
                                          <p:attrName>ppt_x</p:attrName>
                                          <p:attrName>ppt_y</p:attrName>
                                        </p:attrNameLst>
                                      </p:cBhvr>
                                      <p:rCtr x="-11076" y="58488"/>
                                    </p:animMotion>
                                  </p:childTnLst>
                                </p:cTn>
                              </p:par>
                              <p:par>
                                <p:cTn id="65" presetID="0" presetClass="path" presetSubtype="0" fill="hold" nodeType="withEffect">
                                  <p:stCondLst>
                                    <p:cond delay="0"/>
                                  </p:stCondLst>
                                  <p:childTnLst>
                                    <p:animMotion origin="layout" path="M 0.0033 -0.02192 L 0.0033 -0.02192 C 0.00018 -0.01574 -0.00295 -0.00926 -0.00607 -0.0034 C -0.00816 0.00061 -0.01042 0.00401 -0.01232 0.00771 C -0.02552 0.03426 -0.01667 0.02222 -0.02795 0.03549 C -0.02864 0.03734 -0.02934 0.0395 -0.03003 0.04105 C -0.03142 0.04444 -0.03298 0.04722 -0.0342 0.05031 C -0.03837 0.0608 -0.03646 0.05741 -0.03941 0.06697 C -0.0401 0.06913 -0.0408 0.07068 -0.04149 0.07253 C -0.04462 0.09907 -0.04045 0.06636 -0.04462 0.0892 C -0.04844 0.10895 -0.0441 0.09938 -0.04982 0.10957 C -0.05017 0.11203 -0.05017 0.11512 -0.05087 0.11697 C -0.05191 0.12006 -0.05364 0.12222 -0.05503 0.12438 C -0.07048 0.14845 -0.0651 0.1358 -0.07066 0.15031 C -0.07101 0.15278 -0.07135 0.15555 -0.0717 0.15771 C -0.07205 0.15987 -0.07257 0.16142 -0.07274 0.16327 C -0.07465 0.17561 -0.07465 0.17685 -0.07587 0.18734 C -0.07552 0.20092 -0.07535 0.2145 -0.07482 0.22778 C -0.07465 0.23302 -0.07465 0.23796 -0.07378 0.2429 C -0.07326 0.2466 -0.0717 0.25 -0.07066 0.25401 C -0.06996 0.25679 -0.06927 0.25987 -0.06857 0.26296 C -0.06823 0.26543 -0.06823 0.26821 -0.06753 0.27068 C -0.06649 0.27438 -0.06458 0.27778 -0.06337 0.28148 C -0.06267 0.28426 -0.06232 0.28673 -0.06128 0.2892 C -0.06042 0.29105 -0.05903 0.29228 -0.05816 0.29475 C -0.05555 0.30185 -0.0533 0.30957 -0.05087 0.31666 C -0.05 0.32006 -0.04861 0.32284 -0.04774 0.32623 C -0.04514 0.33765 -0.04705 0.33302 -0.04253 0.34074 C -0.04219 0.34259 -0.04201 0.34475 -0.04149 0.3466 C -0.04097 0.34845 -0.03958 0.34969 -0.03941 0.35185 C -0.03941 0.35247 -0.0408 0.36481 -0.04149 0.36697 C -0.04271 0.36975 -0.04444 0.3716 -0.04566 0.37407 C -0.05764 0.39969 -0.04757 0.38117 -0.05503 0.39475 C -0.05538 0.3966 -0.05573 0.39845 -0.05607 0.4 C -0.06024 0.4145 -0.0566 0.39722 -0.0592 0.41111 C -0.05955 0.43241 -0.05937 0.45339 -0.06024 0.47438 C -0.06042 0.47685 -0.0618 0.47901 -0.06232 0.48148 C -0.06337 0.48549 -0.06476 0.49629 -0.06649 0.5 C -0.06736 0.50185 -0.06857 0.50278 -0.06962 0.5037 C -0.07917 0.52901 -0.07101 0.50987 -0.11024 0.52994 C -0.11198 0.53055 -0.11371 0.53086 -0.11545 0.53179 C -0.11684 0.5321 -0.11823 0.53302 -0.11962 0.53364 C -0.12708 0.5466 -0.12326 0.54228 -0.13003 0.54815 L -0.1342 0.55926 C -0.13489 0.56111 -0.13594 0.56296 -0.13628 0.56512 C -0.13698 0.56821 -0.13767 0.57129 -0.13837 0.57407 C -0.13976 0.57932 -0.14114 0.58426 -0.14253 0.5892 C -0.14323 0.59136 -0.1441 0.59382 -0.14462 0.59629 L -0.1467 0.60555 C -0.14739 0.62376 -0.14705 0.64166 -0.14878 0.65926 C -0.14913 0.66296 -0.15156 0.6645 -0.15295 0.66697 C -0.1592 0.67685 -0.15989 0.67778 -0.16649 0.68549 C -0.16823 0.68734 -0.16979 0.68981 -0.1717 0.69105 C -0.17621 0.69352 -0.17569 0.6929 -0.18107 0.69845 C -0.18229 0.69938 -0.18316 0.70092 -0.1842 0.70185 C -0.18559 0.70339 -0.18698 0.70432 -0.18837 0.70555 C -0.1908 0.70802 -0.19323 0.7108 -0.19566 0.71327 C -0.19774 0.71512 -0.19982 0.71666 -0.20191 0.71882 C -0.20364 0.72037 -0.20538 0.72253 -0.20712 0.72407 C -0.21285 0.72932 -0.20833 0.72129 -0.21545 0.73179 C -0.21736 0.73426 -0.21892 0.73796 -0.22066 0.74105 C -0.22205 0.7429 -0.22344 0.74475 -0.22482 0.74629 C -0.22552 0.74907 -0.22621 0.75154 -0.22691 0.7537 C -0.2283 0.75771 -0.22986 0.76111 -0.23107 0.76512 L -0.2342 0.77407 C -0.23385 0.77808 -0.23403 0.78179 -0.23316 0.78549 C -0.23264 0.78765 -0.23107 0.78889 -0.23003 0.79105 C -0.22778 0.79568 -0.22569 0.80061 -0.22378 0.80586 C -0.2118 0.83765 -0.22621 0.79722 -0.21753 0.82808 C -0.21285 0.84444 -0.21441 0.83765 -0.21232 0.84845 C -0.21267 0.85957 -0.2125 0.87068 -0.21337 0.88179 C -0.21354 0.88426 -0.21493 0.88642 -0.21545 0.88889 C -0.22448 0.925 -0.21059 0.87345 -0.22066 0.90586 C -0.22917 0.93302 -0.21771 0.90154 -0.22482 0.92068 C -0.22517 0.92438 -0.22517 0.92808 -0.22587 0.93148 C -0.22621 0.93364 -0.22726 0.93518 -0.22795 0.93703 C -0.22934 0.94136 -0.23073 0.94599 -0.23212 0.95031 C -0.23281 0.95216 -0.23351 0.9537 -0.2342 0.95555 C -0.24288 0.98024 -0.23281 0.95185 -0.23941 0.97253 C -0.2401 0.97438 -0.24097 0.97592 -0.24149 0.97778 C -0.24201 0.97963 -0.24219 0.98179 -0.24253 0.98333 C -0.24357 0.98734 -0.24462 0.99105 -0.24566 0.99475 C -0.24531 1 -0.24566 1.00586 -0.24462 1.01142 C -0.24392 1.01543 -0.24132 1.01821 -0.24045 1.02222 C -0.23542 1.04475 -0.24114 1.02006 -0.23628 1.0392 C -0.23524 1.04321 -0.2342 1.04784 -0.23316 1.05185 C -0.23246 1.05463 -0.23177 1.05679 -0.23107 1.05957 C -0.23003 1.06358 -0.22917 1.06821 -0.22795 1.07222 C -0.22708 1.07561 -0.22569 1.07839 -0.22482 1.08179 C -0.22396 1.08518 -0.22344 1.0892 -0.22274 1.09259 L -0.2217 1.09815 C -0.22205 1.10524 -0.2217 1.11203 -0.22274 1.11852 C -0.22309 1.12068 -0.225 1.12068 -0.22587 1.12222 C -0.23125 1.13179 -0.22673 1.12839 -0.23316 1.13703 C -0.23437 1.13889 -0.23611 1.1392 -0.23732 1.14074 C -0.23854 1.14228 -0.23923 1.14506 -0.24045 1.14629 C -0.24305 1.15 -0.24601 1.15247 -0.24878 1.15586 C -0.24982 1.15679 -0.25087 1.15833 -0.25191 1.15957 C -0.25295 1.16018 -0.25399 1.16049 -0.25503 1.16111 C -0.25625 1.16234 -0.25712 1.16389 -0.25816 1.16481 C -0.2651 1.17191 -0.25955 1.16605 -0.26545 1.17037 C -0.26684 1.1716 -0.26823 1.17315 -0.26962 1.17438 C -0.27066 1.175 -0.2717 1.17531 -0.27274 1.17623 C -0.2809 1.18333 -0.27118 1.17685 -0.27899 1.18179 C -0.28194 1.1895 -0.28489 1.19136 -0.28212 1.20031 C -0.28038 1.20524 -0.2783 1.20586 -0.27587 1.20926 C -0.27239 1.2145 -0.27309 1.2145 -0.27066 1.22068 C -0.2691 1.22438 -0.26684 1.22901 -0.26545 1.23333 C -0.26476 1.2358 -0.26423 1.23858 -0.26337 1.24105 C -0.26285 1.2429 -0.2618 1.24444 -0.26128 1.2466 C -0.26076 1.24815 -0.26076 1.25031 -0.26024 1.25216 C -0.25972 1.25401 -0.25868 1.25555 -0.25816 1.25771 C -0.25625 1.26543 -0.25486 1.27376 -0.25295 1.28179 C -0.25243 1.28426 -0.25173 1.28673 -0.25087 1.2892 C -0.24792 1.29599 -0.24305 1.30185 -0.23837 1.30401 C -0.23351 1.30617 -0.23489 1.30339 -0.23316 1.30926 " pathEditMode="relative" ptsTypes="AAAAAAAAAAAAAAAAAAAAAAAAAAAAAAAAAAAAAAAAAAAAAAAAAAAAAAAAAAAAAAAAAAAAAAAAAAAAAAAAAAAAAAAAAAAAAAAAAAAAAAAAAAAAAAAAAAAA">
                                      <p:cBhvr>
                                        <p:cTn id="66" dur="9750" fill="hold"/>
                                        <p:tgtEl>
                                          <p:spTgt spid="67"/>
                                        </p:tgtEl>
                                        <p:attrNameLst>
                                          <p:attrName>ppt_x</p:attrName>
                                          <p:attrName>ppt_y</p:attrName>
                                        </p:attrNameLst>
                                      </p:cBhvr>
                                    </p:animMotion>
                                  </p:childTnLst>
                                </p:cTn>
                              </p:par>
                              <p:par>
                                <p:cTn id="67" presetID="0" presetClass="path" presetSubtype="0" fill="hold" nodeType="withEffect">
                                  <p:stCondLst>
                                    <p:cond delay="0"/>
                                  </p:stCondLst>
                                  <p:childTnLst>
                                    <p:animMotion origin="layout" path="M 0.01302 -0.01451 L 0.01302 -0.01451 C 0.00643 0.02006 0.01372 -0.01543 0.00469 0.01913 C -0.00295 0.04691 0.00434 0.02932 -0.00677 0.05802 C -0.02014 0.09136 -0.02725 0.10031 -0.03802 0.1429 C -0.04288 0.16142 -0.04357 0.16543 -0.04948 0.18364 C -0.05191 0.19043 -0.05468 0.1966 -0.05677 0.20401 C -0.0585 0.20988 -0.05955 0.21636 -0.06093 0.22253 C -0.06632 0.24383 -0.06337 0.23025 -0.06823 0.2466 C -0.06979 0.25123 -0.07083 0.25648 -0.07239 0.26142 C -0.07534 0.26944 -0.07795 0.27839 -0.08177 0.28549 C -0.11406 0.34259 -0.075 0.27407 -0.09739 0.31142 C -0.10034 0.31605 -0.1026 0.32191 -0.10573 0.32623 C -0.11093 0.33302 -0.1085 0.32994 -0.11302 0.33549 C -0.11684 0.34506 -0.11302 0.33796 -0.11927 0.3429 C -0.12048 0.34352 -0.12135 0.34537 -0.12239 0.3466 C -0.12378 0.34784 -0.12517 0.34907 -0.12656 0.35031 C -0.12864 0.35154 -0.13073 0.35278 -0.13281 0.35401 C -0.13385 0.35463 -0.13507 0.35494 -0.13593 0.35586 C -0.13767 0.3571 -0.13958 0.35771 -0.14114 0.35957 C -0.14462 0.36327 -0.14739 0.36821 -0.15052 0.37253 C -0.15764 0.3821 -0.15208 0.37438 -0.16093 0.38549 C -0.1625 0.38704 -0.16371 0.3892 -0.1651 0.39105 C -0.16823 0.39475 -0.17187 0.39722 -0.17448 0.40216 L -0.18177 0.41512 L -0.18698 0.42438 C -0.18732 0.42685 -0.18784 0.42901 -0.18802 0.43179 C -0.1901 0.4571 -0.18889 0.46234 -0.18802 0.49475 C -0.18819 0.49506 -0.18698 0.58518 -0.1901 0.62068 C -0.19114 0.6321 -0.19201 0.63673 -0.19323 0.6466 C -0.19357 0.66327 -0.19201 0.68025 -0.19427 0.6966 C -0.19531 0.70339 -0.19982 0.70648 -0.2026 0.71142 C -0.20659 0.71821 -0.20434 0.71605 -0.20885 0.71883 C -0.21076 0.72191 -0.21406 0.72747 -0.2151 0.73179 C -0.21597 0.73457 -0.2158 0.73796 -0.21614 0.74105 C -0.21649 0.74352 -0.21684 0.74599 -0.21718 0.74846 C -0.21892 0.75648 -0.21927 0.75463 -0.22135 0.76142 C -0.22222 0.76358 -0.22291 0.76636 -0.22343 0.76883 C -0.22396 0.77068 -0.22413 0.77253 -0.22448 0.77438 C -0.22587 0.77932 -0.2276 0.78395 -0.22864 0.7892 C -0.22934 0.79136 -0.22899 0.79444 -0.22968 0.7966 C -0.23212 0.80216 -0.23524 0.80648 -0.23802 0.81142 L -0.24114 0.81697 C -0.24253 0.81944 -0.24375 0.82253 -0.24531 0.82438 C -0.25521 0.83488 -0.24618 0.82407 -0.25573 0.8392 C -0.25677 0.84043 -0.25798 0.84136 -0.25885 0.8429 C -0.26007 0.84444 -0.26111 0.8463 -0.26198 0.84846 C -0.26354 0.85185 -0.26614 0.85957 -0.26614 0.85957 C -0.26649 0.86265 -0.26684 0.86574 -0.26718 0.86883 C -0.26788 0.87191 -0.26875 0.875 -0.26927 0.87809 C -0.26979 0.87994 -0.26996 0.88179 -0.27031 0.88364 C -0.26979 0.91018 -0.26788 0.93858 -0.27135 0.96512 C -0.2717 0.96728 -0.27361 0.96728 -0.27448 0.96883 C -0.27604 0.97099 -0.27725 0.97407 -0.27864 0.97623 C -0.28107 0.97963 -0.28368 0.9821 -0.28593 0.98549 C -0.28784 0.98827 -0.28941 0.99197 -0.29114 0.99475 C -0.29323 0.99753 -0.29548 0.99938 -0.29739 1.00216 C -0.2993 1.00494 -0.30087 1.00833 -0.3026 1.01142 C -0.30434 1.01389 -0.30625 1.01605 -0.30781 1.01883 C -0.3092 1.02099 -0.30972 1.02407 -0.31093 1.02623 C -0.33021 1.05555 -0.30104 1.00494 -0.31823 1.03549 C -0.31788 1.05339 -0.31875 1.0713 -0.31718 1.0892 C -0.31684 1.09352 -0.31389 1.09599 -0.31302 1.10031 L -0.31093 1.11142 L -0.30989 1.11697 C -0.30955 1.11883 -0.3092 1.12068 -0.30885 1.12253 L -0.30364 1.16512 C -0.3026 1.1929 -0.30937 1.22531 -0.30052 1.24846 C -0.29705 1.25771 -0.30034 1.25123 -0.29531 1.25586 C -0.29427 1.25679 -0.2934 1.25864 -0.29218 1.25957 C -0.29028 1.26111 -0.28593 1.26327 -0.28593 1.26327 C -0.28489 1.26512 -0.28403 1.26697 -0.28281 1.26883 C -0.28194 1.27006 -0.28073 1.27099 -0.27968 1.27253 C -0.27951 1.27284 -0.28038 1.27253 -0.28073 1.27253 " pathEditMode="relative" ptsTypes="AAAAAAAAAAAAAAAAAAAAAAAAAAAAAAAAAAAAAAAAAAAAAAAAAAAAAAAAAAAAAAAAAAAAAAAAAA">
                                      <p:cBhvr>
                                        <p:cTn id="68" dur="10750" fill="hold"/>
                                        <p:tgtEl>
                                          <p:spTgt spid="65"/>
                                        </p:tgtEl>
                                        <p:attrNameLst>
                                          <p:attrName>ppt_x</p:attrName>
                                          <p:attrName>ppt_y</p:attrName>
                                        </p:attrNameLst>
                                      </p:cBhvr>
                                    </p:animMotion>
                                  </p:childTnLst>
                                </p:cTn>
                              </p:par>
                              <p:par>
                                <p:cTn id="69" presetID="0" presetClass="path" presetSubtype="0" fill="hold" nodeType="withEffect">
                                  <p:stCondLst>
                                    <p:cond delay="0"/>
                                  </p:stCondLst>
                                  <p:childTnLst>
                                    <p:animMotion origin="layout" path="M -0.02535 -0.00895 L -0.02535 -0.00895 C -0.03056 -0.00463 -0.03664 -0.00216 -0.04098 0.00401 C -0.04566 0.01049 -0.04705 0.02654 -0.04827 0.03549 C -0.04723 0.04784 -0.04723 0.0608 -0.04514 0.07253 C -0.04497 0.07469 -0.04306 0.07376 -0.04202 0.07438 C -0.03924 0.07623 -0.03646 0.07778 -0.03368 0.07994 C -0.03195 0.08148 -0.03039 0.08395 -0.02848 0.08549 C -0.02726 0.08703 -0.0257 0.08765 -0.02431 0.0892 C -0.02327 0.09074 -0.02257 0.09352 -0.02118 0.09475 C -0.01928 0.09722 -0.01702 0.09845 -0.01493 0.10031 C -0.0132 0.10216 -0.01146 0.10401 -0.00973 0.10586 C -0.00764 0.10833 -0.00556 0.11049 -0.00348 0.11327 C 0.00347 0.12345 -0.00243 0.11913 0.00382 0.12253 C 0.00416 0.12592 0.00434 0.12901 0.00486 0.13179 C 0.00503 0.13457 0.00555 0.13673 0.0059 0.1392 C 0.00659 0.1466 0.00659 0.15432 0.00798 0.16142 C 0.00833 0.16358 0.00868 0.16512 0.00902 0.16697 C 0.01163 0.18333 0.0085 0.16666 0.01111 0.17994 C 0.00798 0.19352 0.00989 0.18673 0.00486 0.20031 L 0.00277 0.20586 C 0.00208 0.20771 0.00104 0.20926 0.00069 0.21142 C -0.00191 0.22438 0.00138 0.20833 -0.00243 0.22438 C -0.00296 0.22592 -0.00296 0.22808 -0.00348 0.22994 C -0.00851 0.24475 -0.00799 0.24321 -0.01285 0.25216 C -0.01528 0.2645 -0.01198 0.25092 -0.01702 0.26142 C -0.01875 0.2645 -0.0198 0.26882 -0.02118 0.27253 L -0.02535 0.28364 C -0.02605 0.28549 -0.02709 0.28703 -0.02743 0.2892 C -0.02917 0.29753 -0.0283 0.29259 -0.02952 0.30401 C -0.02917 0.31142 -0.02882 0.31852 -0.02848 0.32623 C -0.02778 0.35247 -0.0283 0.36759 -0.02639 0.39105 C -0.02622 0.39413 -0.02587 0.39722 -0.02535 0.40031 C -0.02448 0.4071 -0.02448 0.40679 -0.02327 0.41327 C -0.02431 0.41574 -0.025 0.41882 -0.02639 0.42068 C -0.02761 0.42191 -0.02934 0.4216 -0.03056 0.42253 C -0.03212 0.42345 -0.03351 0.42469 -0.03473 0.42623 C -0.03976 0.43148 -0.04532 0.43549 -0.04931 0.4429 C -0.05035 0.44475 -0.05139 0.4466 -0.05243 0.44845 C -0.05452 0.45092 -0.05868 0.45586 -0.05868 0.45586 C -0.05938 0.45771 -0.06077 0.45895 -0.06077 0.46142 C -0.06112 0.4645 -0.06042 0.46759 -0.05973 0.47068 C -0.05938 0.47253 -0.05851 0.47438 -0.05764 0.47623 C -0.05487 0.4821 -0.05278 0.48364 -0.04931 0.4892 C -0.04653 0.49352 -0.0441 0.50031 -0.03993 0.50216 L -0.03577 0.50401 C -0.03612 0.51018 -0.03612 0.51636 -0.03681 0.52253 C -0.03716 0.52469 -0.03837 0.52592 -0.03889 0.52808 C -0.03941 0.52963 -0.03959 0.53179 -0.03993 0.53364 C -0.04184 0.54228 -0.04202 0.54876 -0.04618 0.55401 C -0.04723 0.55494 -0.04827 0.55524 -0.04931 0.55586 C -0.05955 0.56913 -0.04879 0.55617 -0.0566 0.56327 C -0.05782 0.5642 -0.05868 0.56574 -0.05973 0.56697 C -0.06198 0.56882 -0.06615 0.56975 -0.06806 0.57068 C -0.0691 0.57191 -0.07066 0.57222 -0.07118 0.57438 C -0.07327 0.58024 -0.07205 0.58858 -0.07118 0.59475 C -0.07101 0.5966 -0.07084 0.59876 -0.07014 0.60031 C -0.06841 0.60432 -0.06389 0.61142 -0.06389 0.61142 C -0.06355 0.61327 -0.06355 0.61512 -0.06285 0.61697 C -0.06164 0.62099 -0.05764 0.62901 -0.05556 0.63179 C -0.05434 0.63333 -0.05278 0.63426 -0.05139 0.63549 C -0.04966 0.64105 -0.04775 0.64629 -0.04618 0.65216 C -0.04549 0.65494 -0.04566 0.65833 -0.04514 0.66142 C -0.04497 0.66389 -0.04445 0.66636 -0.0441 0.66882 C -0.04445 0.67438 -0.04445 0.67994 -0.04514 0.68549 C -0.04549 0.68734 -0.04653 0.6892 -0.04723 0.69105 C -0.05122 0.69907 -0.05018 0.69753 -0.05452 0.70031 C -0.05556 0.70339 -0.05625 0.70679 -0.05764 0.70957 C -0.06198 0.71697 -0.06737 0.71852 -0.07223 0.72438 C -0.07657 0.72932 -0.07431 0.72747 -0.07952 0.72994 C -0.08056 0.73179 -0.0816 0.73395 -0.08264 0.73549 C -0.08993 0.74444 -0.08403 0.73395 -0.08993 0.7429 C -0.09115 0.74444 -0.09202 0.74691 -0.09306 0.74845 C -0.09532 0.75123 -0.09792 0.75247 -0.10035 0.75401 C -0.10139 0.75586 -0.10243 0.75771 -0.10348 0.75957 C -0.10452 0.7608 -0.10591 0.76142 -0.1066 0.76327 C -0.11059 0.77099 -0.11042 0.77222 -0.11181 0.77994 C -0.11146 0.78858 -0.11164 0.79722 -0.11077 0.80586 C -0.11059 0.80957 -0.10868 0.81697 -0.10868 0.81697 C -0.10816 0.82407 -0.10643 0.84506 -0.1066 0.85031 C -0.1073 0.8608 -0.10851 0.8716 -0.11077 0.88179 C -0.11198 0.88642 -0.11546 0.88827 -0.11702 0.8929 C -0.12101 0.90339 -0.11823 0.8966 -0.12639 0.91142 C -0.12743 0.91327 -0.12882 0.9145 -0.12952 0.91697 C -0.13455 0.92994 -0.1283 0.91358 -0.13473 0.92994 C -0.14237 0.94876 -0.12987 0.91852 -0.13993 0.9429 C -0.14219 0.95463 -0.13924 0.94166 -0.1441 0.95401 C -0.14514 0.95617 -0.14549 0.95895 -0.14618 0.96142 C -0.14549 0.97006 -0.14532 0.9787 -0.1441 0.98734 C -0.14393 0.9895 -0.14271 0.99074 -0.14202 0.9929 C -0.14167 0.99444 -0.1415 0.9966 -0.14098 0.99845 C -0.14046 1.00031 -0.13959 1.00185 -0.13889 1.00401 C -0.13768 1.00833 -0.13785 1.01203 -0.13681 1.01697 C -0.13629 1.01944 -0.13542 1.0216 -0.13473 1.02438 C -0.13438 1.02654 -0.13421 1.02932 -0.13368 1.03179 C -0.13299 1.03703 -0.1323 1.0395 -0.13056 1.04475 C -0.12969 1.04784 -0.129 1.05123 -0.12743 1.05401 C -0.12639 1.05586 -0.12466 1.05648 -0.12327 1.05771 C -0.12362 1.07129 -0.12379 1.08487 -0.12431 1.09845 C -0.12448 1.10031 -0.12535 1.10185 -0.12535 1.10401 C -0.12535 1.11327 -0.12518 1.12253 -0.12431 1.13179 C -0.12414 1.13395 -0.12292 1.13518 -0.12223 1.13734 C -0.12153 1.1395 -0.12084 1.14228 -0.12014 1.14475 C -0.12066 1.14691 -0.12292 1.16049 -0.12431 1.16327 C -0.12587 1.16574 -0.12778 1.16697 -0.12952 1.16882 C -0.13525 1.18395 -0.13455 1.17685 -0.13264 1.19845 C -0.13264 1.20031 -0.13195 1.20216 -0.1316 1.20401 C -0.13195 1.20895 -0.13247 1.21358 -0.13264 1.21882 C -0.13316 1.22407 -0.13316 1.22994 -0.13368 1.23549 C -0.13421 1.2392 -0.13577 1.2466 -0.13577 1.2466 C -0.1349 1.25308 -0.13438 1.25617 -0.13368 1.26327 C -0.13334 1.26728 -0.13368 1.27222 -0.13264 1.27623 C -0.1323 1.27808 -0.13056 1.2787 -0.12952 1.27994 C -0.12882 1.28549 -0.12882 1.28858 -0.12639 1.2929 C -0.12553 1.29444 -0.12431 1.29537 -0.12327 1.2966 C -0.12223 1.29969 -0.12118 1.30247 -0.12014 1.30586 C -0.11945 1.30802 -0.11893 1.3108 -0.11806 1.31327 C -0.11754 1.31512 -0.11702 1.31759 -0.11598 1.31882 C -0.11493 1.32006 -0.11181 1.32068 -0.11181 1.32068 " pathEditMode="relative" ptsTypes="AAAAAAAAAAAAAAAAAAAAAAAAAAAAAAAAAAAAAAAAAAAAAAAAAAAAAAAAAAAAAAAAAAAAAAAAAAAAAAAAAAAAAAAAAAAAAAAAAAAAAAAAAAAAAAAAAAAAAAA">
                                      <p:cBhvr>
                                        <p:cTn id="70" dur="11750" fill="hold"/>
                                        <p:tgtEl>
                                          <p:spTgt spid="64"/>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54FC26-8917-4640-85CA-AF373D2F8AE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278" t="13150" r="15506" b="29875"/>
          <a:stretch/>
        </p:blipFill>
        <p:spPr>
          <a:xfrm>
            <a:off x="0" y="221786"/>
            <a:ext cx="9144000" cy="4496711"/>
          </a:xfrm>
          <a:prstGeom prst="rect">
            <a:avLst/>
          </a:prstGeom>
        </p:spPr>
      </p:pic>
      <p:sp>
        <p:nvSpPr>
          <p:cNvPr id="17" name="Rectangle 16">
            <a:extLst>
              <a:ext uri="{FF2B5EF4-FFF2-40B4-BE49-F238E27FC236}">
                <a16:creationId xmlns:a16="http://schemas.microsoft.com/office/drawing/2014/main" id="{DD51843E-EC35-49FF-9C00-A229B0A52F99}"/>
              </a:ext>
            </a:extLst>
          </p:cNvPr>
          <p:cNvSpPr/>
          <p:nvPr/>
        </p:nvSpPr>
        <p:spPr>
          <a:xfrm>
            <a:off x="0" y="2455043"/>
            <a:ext cx="2990849" cy="1359712"/>
          </a:xfrm>
          <a:prstGeom prst="rect">
            <a:avLst/>
          </a:prstGeom>
          <a:solidFill>
            <a:srgbClr val="F1ED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5" name="Content Placeholder 6">
            <a:extLst>
              <a:ext uri="{FF2B5EF4-FFF2-40B4-BE49-F238E27FC236}">
                <a16:creationId xmlns:a16="http://schemas.microsoft.com/office/drawing/2014/main" id="{FD5A008B-4DAB-4D76-A668-205C6C1E380C}"/>
              </a:ext>
            </a:extLst>
          </p:cNvPr>
          <p:cNvSpPr>
            <a:spLocks noGrp="1"/>
          </p:cNvSpPr>
          <p:nvPr>
            <p:ph idx="1"/>
          </p:nvPr>
        </p:nvSpPr>
        <p:spPr>
          <a:xfrm>
            <a:off x="253678" y="2705099"/>
            <a:ext cx="2540322" cy="957255"/>
          </a:xfrm>
        </p:spPr>
        <p:txBody>
          <a:bodyPr>
            <a:normAutofit fontScale="92500" lnSpcReduction="20000"/>
          </a:bodyPr>
          <a:lstStyle/>
          <a:p>
            <a:pPr marL="0" indent="0">
              <a:lnSpc>
                <a:spcPct val="110000"/>
              </a:lnSpc>
              <a:buNone/>
            </a:pPr>
            <a:r>
              <a:rPr lang="en-US" sz="1800" dirty="0"/>
              <a:t>Monarch butterflies can travel as far as 100 miles per day during migration season.</a:t>
            </a:r>
            <a:endParaRPr lang="en-US" sz="700" dirty="0"/>
          </a:p>
        </p:txBody>
      </p:sp>
      <p:sp>
        <p:nvSpPr>
          <p:cNvPr id="18" name="Rectangle 17">
            <a:extLst>
              <a:ext uri="{FF2B5EF4-FFF2-40B4-BE49-F238E27FC236}">
                <a16:creationId xmlns:a16="http://schemas.microsoft.com/office/drawing/2014/main" id="{FB1CF02E-4208-4AD0-A7E1-02CC230644D6}"/>
              </a:ext>
            </a:extLst>
          </p:cNvPr>
          <p:cNvSpPr/>
          <p:nvPr/>
        </p:nvSpPr>
        <p:spPr>
          <a:xfrm>
            <a:off x="0" y="0"/>
            <a:ext cx="9144000" cy="209671"/>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10" name="Freeform: Shape 9">
            <a:extLst>
              <a:ext uri="{FF2B5EF4-FFF2-40B4-BE49-F238E27FC236}">
                <a16:creationId xmlns:a16="http://schemas.microsoft.com/office/drawing/2014/main" id="{F2FED0B3-D76B-4FCB-A1E2-91B2091B3765}"/>
              </a:ext>
            </a:extLst>
          </p:cNvPr>
          <p:cNvSpPr/>
          <p:nvPr/>
        </p:nvSpPr>
        <p:spPr>
          <a:xfrm>
            <a:off x="-1" y="212260"/>
            <a:ext cx="3797405" cy="2164199"/>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1" name="Freeform: Shape 10">
            <a:extLst>
              <a:ext uri="{FF2B5EF4-FFF2-40B4-BE49-F238E27FC236}">
                <a16:creationId xmlns:a16="http://schemas.microsoft.com/office/drawing/2014/main" id="{3E9E19F4-9237-4580-9F1F-B5D2D9A25FA4}"/>
              </a:ext>
            </a:extLst>
          </p:cNvPr>
          <p:cNvSpPr/>
          <p:nvPr/>
        </p:nvSpPr>
        <p:spPr>
          <a:xfrm>
            <a:off x="6981825" y="3457575"/>
            <a:ext cx="2165350" cy="1260922"/>
          </a:xfrm>
          <a:custGeom>
            <a:avLst/>
            <a:gdLst>
              <a:gd name="connsiteX0" fmla="*/ 2990850 w 2990850"/>
              <a:gd name="connsiteY0" fmla="*/ 0 h 1701800"/>
              <a:gd name="connsiteX1" fmla="*/ 0 w 2990850"/>
              <a:gd name="connsiteY1" fmla="*/ 1701800 h 1701800"/>
              <a:gd name="connsiteX2" fmla="*/ 2984500 w 2990850"/>
              <a:gd name="connsiteY2" fmla="*/ 1701800 h 1701800"/>
              <a:gd name="connsiteX3" fmla="*/ 2990850 w 2990850"/>
              <a:gd name="connsiteY3" fmla="*/ 0 h 1701800"/>
              <a:gd name="connsiteX0" fmla="*/ 2990850 w 2991461"/>
              <a:gd name="connsiteY0" fmla="*/ 0 h 1701800"/>
              <a:gd name="connsiteX1" fmla="*/ 0 w 2991461"/>
              <a:gd name="connsiteY1" fmla="*/ 1701800 h 1701800"/>
              <a:gd name="connsiteX2" fmla="*/ 2990850 w 2991461"/>
              <a:gd name="connsiteY2" fmla="*/ 1701800 h 1701800"/>
              <a:gd name="connsiteX3" fmla="*/ 2990850 w 2991461"/>
              <a:gd name="connsiteY3" fmla="*/ 0 h 1701800"/>
            </a:gdLst>
            <a:ahLst/>
            <a:cxnLst>
              <a:cxn ang="0">
                <a:pos x="connsiteX0" y="connsiteY0"/>
              </a:cxn>
              <a:cxn ang="0">
                <a:pos x="connsiteX1" y="connsiteY1"/>
              </a:cxn>
              <a:cxn ang="0">
                <a:pos x="connsiteX2" y="connsiteY2"/>
              </a:cxn>
              <a:cxn ang="0">
                <a:pos x="connsiteX3" y="connsiteY3"/>
              </a:cxn>
            </a:cxnLst>
            <a:rect l="l" t="t" r="r" b="b"/>
            <a:pathLst>
              <a:path w="2991461" h="1701800">
                <a:moveTo>
                  <a:pt x="2990850" y="0"/>
                </a:moveTo>
                <a:lnTo>
                  <a:pt x="0" y="1701800"/>
                </a:lnTo>
                <a:lnTo>
                  <a:pt x="2990850" y="1701800"/>
                </a:lnTo>
                <a:cubicBezTo>
                  <a:pt x="2992967" y="1134533"/>
                  <a:pt x="2988733" y="567267"/>
                  <a:pt x="2990850" y="0"/>
                </a:cubicBez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a:extLst>
              <a:ext uri="{FF2B5EF4-FFF2-40B4-BE49-F238E27FC236}">
                <a16:creationId xmlns:a16="http://schemas.microsoft.com/office/drawing/2014/main" id="{709A0BED-3B07-453C-89DD-CF5DCE1178B9}"/>
              </a:ext>
            </a:extLst>
          </p:cNvPr>
          <p:cNvSpPr>
            <a:spLocks noGrp="1"/>
          </p:cNvSpPr>
          <p:nvPr>
            <p:ph type="title"/>
          </p:nvPr>
        </p:nvSpPr>
        <p:spPr>
          <a:xfrm>
            <a:off x="253678" y="288255"/>
            <a:ext cx="2540322" cy="646331"/>
          </a:xfrm>
        </p:spPr>
        <p:txBody>
          <a:bodyPr/>
          <a:lstStyle/>
          <a:p>
            <a:r>
              <a:rPr lang="en-US" sz="3600" dirty="0">
                <a:solidFill>
                  <a:schemeClr val="tx1">
                    <a:lumMod val="85000"/>
                    <a:lumOff val="15000"/>
                  </a:schemeClr>
                </a:solidFill>
              </a:rPr>
              <a:t>Fast Facts</a:t>
            </a:r>
          </a:p>
        </p:txBody>
      </p:sp>
      <p:pic>
        <p:nvPicPr>
          <p:cNvPr id="19" name="Picture 18">
            <a:extLst>
              <a:ext uri="{FF2B5EF4-FFF2-40B4-BE49-F238E27FC236}">
                <a16:creationId xmlns:a16="http://schemas.microsoft.com/office/drawing/2014/main" id="{08A076E0-EB15-4378-B9A6-910F428E0D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63075" y="3990030"/>
            <a:ext cx="759579" cy="583397"/>
          </a:xfrm>
          <a:prstGeom prst="rect">
            <a:avLst/>
          </a:prstGeom>
        </p:spPr>
      </p:pic>
      <p:sp>
        <p:nvSpPr>
          <p:cNvPr id="20" name="Rectangle 19">
            <a:extLst>
              <a:ext uri="{FF2B5EF4-FFF2-40B4-BE49-F238E27FC236}">
                <a16:creationId xmlns:a16="http://schemas.microsoft.com/office/drawing/2014/main" id="{66782F7F-CF77-4FB6-A5BE-FFB798F17341}"/>
              </a:ext>
            </a:extLst>
          </p:cNvPr>
          <p:cNvSpPr/>
          <p:nvPr/>
        </p:nvSpPr>
        <p:spPr>
          <a:xfrm>
            <a:off x="0" y="200146"/>
            <a:ext cx="9144000" cy="45719"/>
          </a:xfrm>
          <a:prstGeom prst="rect">
            <a:avLst/>
          </a:prstGeom>
          <a:solidFill>
            <a:srgbClr val="263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3" name="Freeform: Shape 12">
            <a:extLst>
              <a:ext uri="{FF2B5EF4-FFF2-40B4-BE49-F238E27FC236}">
                <a16:creationId xmlns:a16="http://schemas.microsoft.com/office/drawing/2014/main" id="{AED5BAC4-854B-44E7-907E-86EBE6C9E8D5}"/>
              </a:ext>
            </a:extLst>
          </p:cNvPr>
          <p:cNvSpPr/>
          <p:nvPr/>
        </p:nvSpPr>
        <p:spPr>
          <a:xfrm>
            <a:off x="0" y="878628"/>
            <a:ext cx="2305049" cy="79298"/>
          </a:xfrm>
          <a:custGeom>
            <a:avLst/>
            <a:gdLst>
              <a:gd name="connsiteX0" fmla="*/ 2085975 w 2085975"/>
              <a:gd name="connsiteY0" fmla="*/ 0 h 85725"/>
              <a:gd name="connsiteX1" fmla="*/ 1962150 w 2085975"/>
              <a:gd name="connsiteY1" fmla="*/ 85725 h 85725"/>
              <a:gd name="connsiteX2" fmla="*/ 0 w 2085975"/>
              <a:gd name="connsiteY2" fmla="*/ 38100 h 85725"/>
              <a:gd name="connsiteX3" fmla="*/ 2085975 w 2085975"/>
              <a:gd name="connsiteY3" fmla="*/ 0 h 85725"/>
              <a:gd name="connsiteX0" fmla="*/ 2105025 w 2105025"/>
              <a:gd name="connsiteY0" fmla="*/ 0 h 76200"/>
              <a:gd name="connsiteX1" fmla="*/ 1962150 w 2105025"/>
              <a:gd name="connsiteY1" fmla="*/ 76200 h 76200"/>
              <a:gd name="connsiteX2" fmla="*/ 0 w 2105025"/>
              <a:gd name="connsiteY2" fmla="*/ 28575 h 76200"/>
              <a:gd name="connsiteX3" fmla="*/ 2105025 w 2105025"/>
              <a:gd name="connsiteY3" fmla="*/ 0 h 76200"/>
            </a:gdLst>
            <a:ahLst/>
            <a:cxnLst>
              <a:cxn ang="0">
                <a:pos x="connsiteX0" y="connsiteY0"/>
              </a:cxn>
              <a:cxn ang="0">
                <a:pos x="connsiteX1" y="connsiteY1"/>
              </a:cxn>
              <a:cxn ang="0">
                <a:pos x="connsiteX2" y="connsiteY2"/>
              </a:cxn>
              <a:cxn ang="0">
                <a:pos x="connsiteX3" y="connsiteY3"/>
              </a:cxn>
            </a:cxnLst>
            <a:rect l="l" t="t" r="r" b="b"/>
            <a:pathLst>
              <a:path w="2105025" h="76200">
                <a:moveTo>
                  <a:pt x="2105025" y="0"/>
                </a:moveTo>
                <a:lnTo>
                  <a:pt x="1962150" y="76200"/>
                </a:lnTo>
                <a:lnTo>
                  <a:pt x="0" y="28575"/>
                </a:lnTo>
                <a:lnTo>
                  <a:pt x="2105025" y="0"/>
                </a:lnTo>
                <a:close/>
              </a:path>
            </a:pathLst>
          </a:cu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15" name="Graphic 14">
            <a:extLst>
              <a:ext uri="{FF2B5EF4-FFF2-40B4-BE49-F238E27FC236}">
                <a16:creationId xmlns:a16="http://schemas.microsoft.com/office/drawing/2014/main" id="{22A6507C-6920-4BF1-B60A-6ADA38D5F5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79529" y="4193268"/>
            <a:ext cx="990600" cy="389744"/>
          </a:xfrm>
          <a:prstGeom prst="rect">
            <a:avLst/>
          </a:prstGeom>
        </p:spPr>
      </p:pic>
      <p:pic>
        <p:nvPicPr>
          <p:cNvPr id="16" name="Graphic 15">
            <a:extLst>
              <a:ext uri="{FF2B5EF4-FFF2-40B4-BE49-F238E27FC236}">
                <a16:creationId xmlns:a16="http://schemas.microsoft.com/office/drawing/2014/main" id="{3E557C53-1D0C-4D70-8692-74FE2B8815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2262" y="841577"/>
            <a:ext cx="1712392" cy="1786131"/>
          </a:xfrm>
          <a:prstGeom prst="rect">
            <a:avLst/>
          </a:prstGeom>
        </p:spPr>
      </p:pic>
    </p:spTree>
    <p:extLst>
      <p:ext uri="{BB962C8B-B14F-4D97-AF65-F5344CB8AC3E}">
        <p14:creationId xmlns:p14="http://schemas.microsoft.com/office/powerpoint/2010/main" val="1473814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E3E663-1B1F-42DD-B6AA-3A952AB081D0}"/>
              </a:ext>
            </a:extLst>
          </p:cNvPr>
          <p:cNvPicPr>
            <a:picLocks/>
          </p:cNvPicPr>
          <p:nvPr/>
        </p:nvPicPr>
        <p:blipFill rotWithShape="1">
          <a:blip r:embed="rId2" cstate="print">
            <a:extLst>
              <a:ext uri="{28A0092B-C50C-407E-A947-70E740481C1C}">
                <a14:useLocalDpi xmlns:a14="http://schemas.microsoft.com/office/drawing/2010/main" val="0"/>
              </a:ext>
            </a:extLst>
          </a:blip>
          <a:srcRect l="16667" t="20514" b="6989"/>
          <a:stretch/>
        </p:blipFill>
        <p:spPr>
          <a:xfrm flipH="1">
            <a:off x="-5" y="245866"/>
            <a:ext cx="9144003" cy="4472632"/>
          </a:xfrm>
          <a:prstGeom prst="rect">
            <a:avLst/>
          </a:prstGeom>
        </p:spPr>
      </p:pic>
      <p:sp>
        <p:nvSpPr>
          <p:cNvPr id="17" name="Rectangle 16">
            <a:extLst>
              <a:ext uri="{FF2B5EF4-FFF2-40B4-BE49-F238E27FC236}">
                <a16:creationId xmlns:a16="http://schemas.microsoft.com/office/drawing/2014/main" id="{DD51843E-EC35-49FF-9C00-A229B0A52F99}"/>
              </a:ext>
            </a:extLst>
          </p:cNvPr>
          <p:cNvSpPr/>
          <p:nvPr/>
        </p:nvSpPr>
        <p:spPr>
          <a:xfrm>
            <a:off x="0" y="2455043"/>
            <a:ext cx="2990849" cy="1359712"/>
          </a:xfrm>
          <a:prstGeom prst="rect">
            <a:avLst/>
          </a:prstGeom>
          <a:solidFill>
            <a:srgbClr val="F1ED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5" name="Content Placeholder 6">
            <a:extLst>
              <a:ext uri="{FF2B5EF4-FFF2-40B4-BE49-F238E27FC236}">
                <a16:creationId xmlns:a16="http://schemas.microsoft.com/office/drawing/2014/main" id="{FD5A008B-4DAB-4D76-A668-205C6C1E380C}"/>
              </a:ext>
            </a:extLst>
          </p:cNvPr>
          <p:cNvSpPr>
            <a:spLocks noGrp="1"/>
          </p:cNvSpPr>
          <p:nvPr>
            <p:ph idx="1"/>
          </p:nvPr>
        </p:nvSpPr>
        <p:spPr>
          <a:xfrm>
            <a:off x="253678" y="2819399"/>
            <a:ext cx="2540322" cy="957255"/>
          </a:xfrm>
        </p:spPr>
        <p:txBody>
          <a:bodyPr>
            <a:normAutofit/>
          </a:bodyPr>
          <a:lstStyle/>
          <a:p>
            <a:pPr marL="0" indent="0">
              <a:buNone/>
            </a:pPr>
            <a:r>
              <a:rPr lang="en-US" dirty="0"/>
              <a:t>Monarchs smell with their antennae.</a:t>
            </a:r>
            <a:endParaRPr lang="en-US" sz="700" dirty="0"/>
          </a:p>
        </p:txBody>
      </p:sp>
      <p:sp>
        <p:nvSpPr>
          <p:cNvPr id="18" name="Rectangle 17">
            <a:extLst>
              <a:ext uri="{FF2B5EF4-FFF2-40B4-BE49-F238E27FC236}">
                <a16:creationId xmlns:a16="http://schemas.microsoft.com/office/drawing/2014/main" id="{FB1CF02E-4208-4AD0-A7E1-02CC230644D6}"/>
              </a:ext>
            </a:extLst>
          </p:cNvPr>
          <p:cNvSpPr/>
          <p:nvPr/>
        </p:nvSpPr>
        <p:spPr>
          <a:xfrm>
            <a:off x="0" y="0"/>
            <a:ext cx="9144000" cy="209671"/>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10" name="Freeform: Shape 9">
            <a:extLst>
              <a:ext uri="{FF2B5EF4-FFF2-40B4-BE49-F238E27FC236}">
                <a16:creationId xmlns:a16="http://schemas.microsoft.com/office/drawing/2014/main" id="{F2FED0B3-D76B-4FCB-A1E2-91B2091B3765}"/>
              </a:ext>
            </a:extLst>
          </p:cNvPr>
          <p:cNvSpPr/>
          <p:nvPr/>
        </p:nvSpPr>
        <p:spPr>
          <a:xfrm>
            <a:off x="-1" y="212260"/>
            <a:ext cx="3797405" cy="2164199"/>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1" name="Freeform: Shape 10">
            <a:extLst>
              <a:ext uri="{FF2B5EF4-FFF2-40B4-BE49-F238E27FC236}">
                <a16:creationId xmlns:a16="http://schemas.microsoft.com/office/drawing/2014/main" id="{3E9E19F4-9237-4580-9F1F-B5D2D9A25FA4}"/>
              </a:ext>
            </a:extLst>
          </p:cNvPr>
          <p:cNvSpPr/>
          <p:nvPr/>
        </p:nvSpPr>
        <p:spPr>
          <a:xfrm>
            <a:off x="6981825" y="3457575"/>
            <a:ext cx="2165350" cy="1260922"/>
          </a:xfrm>
          <a:custGeom>
            <a:avLst/>
            <a:gdLst>
              <a:gd name="connsiteX0" fmla="*/ 2990850 w 2990850"/>
              <a:gd name="connsiteY0" fmla="*/ 0 h 1701800"/>
              <a:gd name="connsiteX1" fmla="*/ 0 w 2990850"/>
              <a:gd name="connsiteY1" fmla="*/ 1701800 h 1701800"/>
              <a:gd name="connsiteX2" fmla="*/ 2984500 w 2990850"/>
              <a:gd name="connsiteY2" fmla="*/ 1701800 h 1701800"/>
              <a:gd name="connsiteX3" fmla="*/ 2990850 w 2990850"/>
              <a:gd name="connsiteY3" fmla="*/ 0 h 1701800"/>
              <a:gd name="connsiteX0" fmla="*/ 2990850 w 2991461"/>
              <a:gd name="connsiteY0" fmla="*/ 0 h 1701800"/>
              <a:gd name="connsiteX1" fmla="*/ 0 w 2991461"/>
              <a:gd name="connsiteY1" fmla="*/ 1701800 h 1701800"/>
              <a:gd name="connsiteX2" fmla="*/ 2990850 w 2991461"/>
              <a:gd name="connsiteY2" fmla="*/ 1701800 h 1701800"/>
              <a:gd name="connsiteX3" fmla="*/ 2990850 w 2991461"/>
              <a:gd name="connsiteY3" fmla="*/ 0 h 1701800"/>
            </a:gdLst>
            <a:ahLst/>
            <a:cxnLst>
              <a:cxn ang="0">
                <a:pos x="connsiteX0" y="connsiteY0"/>
              </a:cxn>
              <a:cxn ang="0">
                <a:pos x="connsiteX1" y="connsiteY1"/>
              </a:cxn>
              <a:cxn ang="0">
                <a:pos x="connsiteX2" y="connsiteY2"/>
              </a:cxn>
              <a:cxn ang="0">
                <a:pos x="connsiteX3" y="connsiteY3"/>
              </a:cxn>
            </a:cxnLst>
            <a:rect l="l" t="t" r="r" b="b"/>
            <a:pathLst>
              <a:path w="2991461" h="1701800">
                <a:moveTo>
                  <a:pt x="2990850" y="0"/>
                </a:moveTo>
                <a:lnTo>
                  <a:pt x="0" y="1701800"/>
                </a:lnTo>
                <a:lnTo>
                  <a:pt x="2990850" y="1701800"/>
                </a:lnTo>
                <a:cubicBezTo>
                  <a:pt x="2992967" y="1134533"/>
                  <a:pt x="2988733" y="567267"/>
                  <a:pt x="2990850" y="0"/>
                </a:cubicBez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a:extLst>
              <a:ext uri="{FF2B5EF4-FFF2-40B4-BE49-F238E27FC236}">
                <a16:creationId xmlns:a16="http://schemas.microsoft.com/office/drawing/2014/main" id="{709A0BED-3B07-453C-89DD-CF5DCE1178B9}"/>
              </a:ext>
            </a:extLst>
          </p:cNvPr>
          <p:cNvSpPr>
            <a:spLocks noGrp="1"/>
          </p:cNvSpPr>
          <p:nvPr>
            <p:ph type="title"/>
          </p:nvPr>
        </p:nvSpPr>
        <p:spPr>
          <a:xfrm>
            <a:off x="253678" y="290844"/>
            <a:ext cx="2540322" cy="646331"/>
          </a:xfrm>
        </p:spPr>
        <p:txBody>
          <a:bodyPr/>
          <a:lstStyle/>
          <a:p>
            <a:r>
              <a:rPr lang="en-US" sz="3600" dirty="0">
                <a:solidFill>
                  <a:schemeClr val="tx1">
                    <a:lumMod val="85000"/>
                    <a:lumOff val="15000"/>
                  </a:schemeClr>
                </a:solidFill>
              </a:rPr>
              <a:t>Fast Facts</a:t>
            </a:r>
          </a:p>
        </p:txBody>
      </p:sp>
      <p:pic>
        <p:nvPicPr>
          <p:cNvPr id="19" name="Picture 18">
            <a:extLst>
              <a:ext uri="{FF2B5EF4-FFF2-40B4-BE49-F238E27FC236}">
                <a16:creationId xmlns:a16="http://schemas.microsoft.com/office/drawing/2014/main" id="{08A076E0-EB15-4378-B9A6-910F428E0D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58300" y="3990030"/>
            <a:ext cx="759579" cy="583397"/>
          </a:xfrm>
          <a:prstGeom prst="rect">
            <a:avLst/>
          </a:prstGeom>
        </p:spPr>
      </p:pic>
      <p:sp>
        <p:nvSpPr>
          <p:cNvPr id="20" name="Rectangle 19">
            <a:extLst>
              <a:ext uri="{FF2B5EF4-FFF2-40B4-BE49-F238E27FC236}">
                <a16:creationId xmlns:a16="http://schemas.microsoft.com/office/drawing/2014/main" id="{66782F7F-CF77-4FB6-A5BE-FFB798F17341}"/>
              </a:ext>
            </a:extLst>
          </p:cNvPr>
          <p:cNvSpPr/>
          <p:nvPr/>
        </p:nvSpPr>
        <p:spPr>
          <a:xfrm>
            <a:off x="0" y="200146"/>
            <a:ext cx="9144000" cy="45719"/>
          </a:xfrm>
          <a:prstGeom prst="rect">
            <a:avLst/>
          </a:prstGeom>
          <a:solidFill>
            <a:srgbClr val="263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Freeform: Shape 13">
            <a:extLst>
              <a:ext uri="{FF2B5EF4-FFF2-40B4-BE49-F238E27FC236}">
                <a16:creationId xmlns:a16="http://schemas.microsoft.com/office/drawing/2014/main" id="{2076157C-E9A6-4519-8B3B-49500EA51525}"/>
              </a:ext>
            </a:extLst>
          </p:cNvPr>
          <p:cNvSpPr/>
          <p:nvPr/>
        </p:nvSpPr>
        <p:spPr>
          <a:xfrm>
            <a:off x="0" y="878628"/>
            <a:ext cx="2305049" cy="79298"/>
          </a:xfrm>
          <a:custGeom>
            <a:avLst/>
            <a:gdLst>
              <a:gd name="connsiteX0" fmla="*/ 2085975 w 2085975"/>
              <a:gd name="connsiteY0" fmla="*/ 0 h 85725"/>
              <a:gd name="connsiteX1" fmla="*/ 1962150 w 2085975"/>
              <a:gd name="connsiteY1" fmla="*/ 85725 h 85725"/>
              <a:gd name="connsiteX2" fmla="*/ 0 w 2085975"/>
              <a:gd name="connsiteY2" fmla="*/ 38100 h 85725"/>
              <a:gd name="connsiteX3" fmla="*/ 2085975 w 2085975"/>
              <a:gd name="connsiteY3" fmla="*/ 0 h 85725"/>
              <a:gd name="connsiteX0" fmla="*/ 2105025 w 2105025"/>
              <a:gd name="connsiteY0" fmla="*/ 0 h 76200"/>
              <a:gd name="connsiteX1" fmla="*/ 1962150 w 2105025"/>
              <a:gd name="connsiteY1" fmla="*/ 76200 h 76200"/>
              <a:gd name="connsiteX2" fmla="*/ 0 w 2105025"/>
              <a:gd name="connsiteY2" fmla="*/ 28575 h 76200"/>
              <a:gd name="connsiteX3" fmla="*/ 2105025 w 2105025"/>
              <a:gd name="connsiteY3" fmla="*/ 0 h 76200"/>
            </a:gdLst>
            <a:ahLst/>
            <a:cxnLst>
              <a:cxn ang="0">
                <a:pos x="connsiteX0" y="connsiteY0"/>
              </a:cxn>
              <a:cxn ang="0">
                <a:pos x="connsiteX1" y="connsiteY1"/>
              </a:cxn>
              <a:cxn ang="0">
                <a:pos x="connsiteX2" y="connsiteY2"/>
              </a:cxn>
              <a:cxn ang="0">
                <a:pos x="connsiteX3" y="connsiteY3"/>
              </a:cxn>
            </a:cxnLst>
            <a:rect l="l" t="t" r="r" b="b"/>
            <a:pathLst>
              <a:path w="2105025" h="76200">
                <a:moveTo>
                  <a:pt x="2105025" y="0"/>
                </a:moveTo>
                <a:lnTo>
                  <a:pt x="1962150" y="76200"/>
                </a:lnTo>
                <a:lnTo>
                  <a:pt x="0" y="28575"/>
                </a:lnTo>
                <a:lnTo>
                  <a:pt x="2105025" y="0"/>
                </a:lnTo>
                <a:close/>
              </a:path>
            </a:pathLst>
          </a:cu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8" name="Graphic 7">
            <a:extLst>
              <a:ext uri="{FF2B5EF4-FFF2-40B4-BE49-F238E27FC236}">
                <a16:creationId xmlns:a16="http://schemas.microsoft.com/office/drawing/2014/main" id="{3E589928-031A-4AD9-8399-54FDC5DFE6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2262" y="841577"/>
            <a:ext cx="1712392" cy="1786131"/>
          </a:xfrm>
          <a:prstGeom prst="rect">
            <a:avLst/>
          </a:prstGeom>
        </p:spPr>
      </p:pic>
      <p:pic>
        <p:nvPicPr>
          <p:cNvPr id="16" name="Graphic 15">
            <a:extLst>
              <a:ext uri="{FF2B5EF4-FFF2-40B4-BE49-F238E27FC236}">
                <a16:creationId xmlns:a16="http://schemas.microsoft.com/office/drawing/2014/main" id="{DD92E066-8142-4D5A-A363-802663AC9C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79529" y="4193268"/>
            <a:ext cx="990600" cy="389744"/>
          </a:xfrm>
          <a:prstGeom prst="rect">
            <a:avLst/>
          </a:prstGeom>
        </p:spPr>
      </p:pic>
    </p:spTree>
    <p:extLst>
      <p:ext uri="{BB962C8B-B14F-4D97-AF65-F5344CB8AC3E}">
        <p14:creationId xmlns:p14="http://schemas.microsoft.com/office/powerpoint/2010/main" val="1355597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5D0141C-ED45-41FB-AC27-3BA808442DB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3322" b="13322"/>
          <a:stretch/>
        </p:blipFill>
        <p:spPr>
          <a:xfrm>
            <a:off x="0" y="245866"/>
            <a:ext cx="9144000" cy="4472632"/>
          </a:xfrm>
          <a:prstGeom prst="rect">
            <a:avLst/>
          </a:prstGeom>
        </p:spPr>
      </p:pic>
      <p:sp>
        <p:nvSpPr>
          <p:cNvPr id="17" name="Rectangle 16">
            <a:extLst>
              <a:ext uri="{FF2B5EF4-FFF2-40B4-BE49-F238E27FC236}">
                <a16:creationId xmlns:a16="http://schemas.microsoft.com/office/drawing/2014/main" id="{DD51843E-EC35-49FF-9C00-A229B0A52F99}"/>
              </a:ext>
            </a:extLst>
          </p:cNvPr>
          <p:cNvSpPr/>
          <p:nvPr/>
        </p:nvSpPr>
        <p:spPr>
          <a:xfrm>
            <a:off x="0" y="2455042"/>
            <a:ext cx="2990849" cy="1534987"/>
          </a:xfrm>
          <a:prstGeom prst="rect">
            <a:avLst/>
          </a:prstGeom>
          <a:solidFill>
            <a:srgbClr val="F1ED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5" name="Content Placeholder 6">
            <a:extLst>
              <a:ext uri="{FF2B5EF4-FFF2-40B4-BE49-F238E27FC236}">
                <a16:creationId xmlns:a16="http://schemas.microsoft.com/office/drawing/2014/main" id="{FD5A008B-4DAB-4D76-A668-205C6C1E380C}"/>
              </a:ext>
            </a:extLst>
          </p:cNvPr>
          <p:cNvSpPr>
            <a:spLocks noGrp="1"/>
          </p:cNvSpPr>
          <p:nvPr>
            <p:ph idx="1"/>
          </p:nvPr>
        </p:nvSpPr>
        <p:spPr>
          <a:xfrm>
            <a:off x="253678" y="2706293"/>
            <a:ext cx="2540322" cy="1070362"/>
          </a:xfrm>
        </p:spPr>
        <p:txBody>
          <a:bodyPr>
            <a:normAutofit fontScale="92500" lnSpcReduction="10000"/>
          </a:bodyPr>
          <a:lstStyle/>
          <a:p>
            <a:pPr marL="0" indent="0">
              <a:buNone/>
            </a:pPr>
            <a:r>
              <a:rPr lang="en-US" dirty="0"/>
              <a:t>The bright colors on the wings signal to predators that this butterfly is poisonous. </a:t>
            </a:r>
            <a:endParaRPr lang="en-US" sz="700" dirty="0"/>
          </a:p>
        </p:txBody>
      </p:sp>
      <p:sp>
        <p:nvSpPr>
          <p:cNvPr id="18" name="Rectangle 17">
            <a:extLst>
              <a:ext uri="{FF2B5EF4-FFF2-40B4-BE49-F238E27FC236}">
                <a16:creationId xmlns:a16="http://schemas.microsoft.com/office/drawing/2014/main" id="{FB1CF02E-4208-4AD0-A7E1-02CC230644D6}"/>
              </a:ext>
            </a:extLst>
          </p:cNvPr>
          <p:cNvSpPr/>
          <p:nvPr/>
        </p:nvSpPr>
        <p:spPr>
          <a:xfrm>
            <a:off x="0" y="0"/>
            <a:ext cx="9144000" cy="209671"/>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10" name="Freeform: Shape 9">
            <a:extLst>
              <a:ext uri="{FF2B5EF4-FFF2-40B4-BE49-F238E27FC236}">
                <a16:creationId xmlns:a16="http://schemas.microsoft.com/office/drawing/2014/main" id="{F2FED0B3-D76B-4FCB-A1E2-91B2091B3765}"/>
              </a:ext>
            </a:extLst>
          </p:cNvPr>
          <p:cNvSpPr/>
          <p:nvPr/>
        </p:nvSpPr>
        <p:spPr>
          <a:xfrm>
            <a:off x="-1" y="212260"/>
            <a:ext cx="3797405" cy="2164199"/>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1" name="Freeform: Shape 10">
            <a:extLst>
              <a:ext uri="{FF2B5EF4-FFF2-40B4-BE49-F238E27FC236}">
                <a16:creationId xmlns:a16="http://schemas.microsoft.com/office/drawing/2014/main" id="{3E9E19F4-9237-4580-9F1F-B5D2D9A25FA4}"/>
              </a:ext>
            </a:extLst>
          </p:cNvPr>
          <p:cNvSpPr/>
          <p:nvPr/>
        </p:nvSpPr>
        <p:spPr>
          <a:xfrm>
            <a:off x="6981825" y="3457575"/>
            <a:ext cx="2165350" cy="1260922"/>
          </a:xfrm>
          <a:custGeom>
            <a:avLst/>
            <a:gdLst>
              <a:gd name="connsiteX0" fmla="*/ 2990850 w 2990850"/>
              <a:gd name="connsiteY0" fmla="*/ 0 h 1701800"/>
              <a:gd name="connsiteX1" fmla="*/ 0 w 2990850"/>
              <a:gd name="connsiteY1" fmla="*/ 1701800 h 1701800"/>
              <a:gd name="connsiteX2" fmla="*/ 2984500 w 2990850"/>
              <a:gd name="connsiteY2" fmla="*/ 1701800 h 1701800"/>
              <a:gd name="connsiteX3" fmla="*/ 2990850 w 2990850"/>
              <a:gd name="connsiteY3" fmla="*/ 0 h 1701800"/>
              <a:gd name="connsiteX0" fmla="*/ 2990850 w 2991461"/>
              <a:gd name="connsiteY0" fmla="*/ 0 h 1701800"/>
              <a:gd name="connsiteX1" fmla="*/ 0 w 2991461"/>
              <a:gd name="connsiteY1" fmla="*/ 1701800 h 1701800"/>
              <a:gd name="connsiteX2" fmla="*/ 2990850 w 2991461"/>
              <a:gd name="connsiteY2" fmla="*/ 1701800 h 1701800"/>
              <a:gd name="connsiteX3" fmla="*/ 2990850 w 2991461"/>
              <a:gd name="connsiteY3" fmla="*/ 0 h 1701800"/>
            </a:gdLst>
            <a:ahLst/>
            <a:cxnLst>
              <a:cxn ang="0">
                <a:pos x="connsiteX0" y="connsiteY0"/>
              </a:cxn>
              <a:cxn ang="0">
                <a:pos x="connsiteX1" y="connsiteY1"/>
              </a:cxn>
              <a:cxn ang="0">
                <a:pos x="connsiteX2" y="connsiteY2"/>
              </a:cxn>
              <a:cxn ang="0">
                <a:pos x="connsiteX3" y="connsiteY3"/>
              </a:cxn>
            </a:cxnLst>
            <a:rect l="l" t="t" r="r" b="b"/>
            <a:pathLst>
              <a:path w="2991461" h="1701800">
                <a:moveTo>
                  <a:pt x="2990850" y="0"/>
                </a:moveTo>
                <a:lnTo>
                  <a:pt x="0" y="1701800"/>
                </a:lnTo>
                <a:lnTo>
                  <a:pt x="2990850" y="1701800"/>
                </a:lnTo>
                <a:cubicBezTo>
                  <a:pt x="2992967" y="1134533"/>
                  <a:pt x="2988733" y="567267"/>
                  <a:pt x="2990850" y="0"/>
                </a:cubicBez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a:extLst>
              <a:ext uri="{FF2B5EF4-FFF2-40B4-BE49-F238E27FC236}">
                <a16:creationId xmlns:a16="http://schemas.microsoft.com/office/drawing/2014/main" id="{709A0BED-3B07-453C-89DD-CF5DCE1178B9}"/>
              </a:ext>
            </a:extLst>
          </p:cNvPr>
          <p:cNvSpPr>
            <a:spLocks noGrp="1"/>
          </p:cNvSpPr>
          <p:nvPr>
            <p:ph type="title"/>
          </p:nvPr>
        </p:nvSpPr>
        <p:spPr>
          <a:xfrm>
            <a:off x="253678" y="290845"/>
            <a:ext cx="2540322" cy="646331"/>
          </a:xfrm>
        </p:spPr>
        <p:txBody>
          <a:bodyPr/>
          <a:lstStyle/>
          <a:p>
            <a:r>
              <a:rPr lang="en-US" sz="3600" dirty="0">
                <a:solidFill>
                  <a:schemeClr val="tx1">
                    <a:lumMod val="85000"/>
                    <a:lumOff val="15000"/>
                  </a:schemeClr>
                </a:solidFill>
              </a:rPr>
              <a:t>Fast Facts</a:t>
            </a:r>
          </a:p>
        </p:txBody>
      </p:sp>
      <p:pic>
        <p:nvPicPr>
          <p:cNvPr id="19" name="Picture 18">
            <a:extLst>
              <a:ext uri="{FF2B5EF4-FFF2-40B4-BE49-F238E27FC236}">
                <a16:creationId xmlns:a16="http://schemas.microsoft.com/office/drawing/2014/main" id="{08A076E0-EB15-4378-B9A6-910F428E0D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34500" y="3990030"/>
            <a:ext cx="759579" cy="583397"/>
          </a:xfrm>
          <a:prstGeom prst="rect">
            <a:avLst/>
          </a:prstGeom>
        </p:spPr>
      </p:pic>
      <p:sp>
        <p:nvSpPr>
          <p:cNvPr id="20" name="Rectangle 19">
            <a:extLst>
              <a:ext uri="{FF2B5EF4-FFF2-40B4-BE49-F238E27FC236}">
                <a16:creationId xmlns:a16="http://schemas.microsoft.com/office/drawing/2014/main" id="{66782F7F-CF77-4FB6-A5BE-FFB798F17341}"/>
              </a:ext>
            </a:extLst>
          </p:cNvPr>
          <p:cNvSpPr/>
          <p:nvPr/>
        </p:nvSpPr>
        <p:spPr>
          <a:xfrm>
            <a:off x="0" y="200146"/>
            <a:ext cx="9144000" cy="45719"/>
          </a:xfrm>
          <a:prstGeom prst="rect">
            <a:avLst/>
          </a:prstGeom>
          <a:solidFill>
            <a:srgbClr val="263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Freeform: Shape 13">
            <a:extLst>
              <a:ext uri="{FF2B5EF4-FFF2-40B4-BE49-F238E27FC236}">
                <a16:creationId xmlns:a16="http://schemas.microsoft.com/office/drawing/2014/main" id="{12DF4621-10FA-492E-9EFE-F00508AA6E34}"/>
              </a:ext>
            </a:extLst>
          </p:cNvPr>
          <p:cNvSpPr/>
          <p:nvPr/>
        </p:nvSpPr>
        <p:spPr>
          <a:xfrm>
            <a:off x="0" y="878628"/>
            <a:ext cx="2305049" cy="79298"/>
          </a:xfrm>
          <a:custGeom>
            <a:avLst/>
            <a:gdLst>
              <a:gd name="connsiteX0" fmla="*/ 2085975 w 2085975"/>
              <a:gd name="connsiteY0" fmla="*/ 0 h 85725"/>
              <a:gd name="connsiteX1" fmla="*/ 1962150 w 2085975"/>
              <a:gd name="connsiteY1" fmla="*/ 85725 h 85725"/>
              <a:gd name="connsiteX2" fmla="*/ 0 w 2085975"/>
              <a:gd name="connsiteY2" fmla="*/ 38100 h 85725"/>
              <a:gd name="connsiteX3" fmla="*/ 2085975 w 2085975"/>
              <a:gd name="connsiteY3" fmla="*/ 0 h 85725"/>
              <a:gd name="connsiteX0" fmla="*/ 2105025 w 2105025"/>
              <a:gd name="connsiteY0" fmla="*/ 0 h 76200"/>
              <a:gd name="connsiteX1" fmla="*/ 1962150 w 2105025"/>
              <a:gd name="connsiteY1" fmla="*/ 76200 h 76200"/>
              <a:gd name="connsiteX2" fmla="*/ 0 w 2105025"/>
              <a:gd name="connsiteY2" fmla="*/ 28575 h 76200"/>
              <a:gd name="connsiteX3" fmla="*/ 2105025 w 2105025"/>
              <a:gd name="connsiteY3" fmla="*/ 0 h 76200"/>
            </a:gdLst>
            <a:ahLst/>
            <a:cxnLst>
              <a:cxn ang="0">
                <a:pos x="connsiteX0" y="connsiteY0"/>
              </a:cxn>
              <a:cxn ang="0">
                <a:pos x="connsiteX1" y="connsiteY1"/>
              </a:cxn>
              <a:cxn ang="0">
                <a:pos x="connsiteX2" y="connsiteY2"/>
              </a:cxn>
              <a:cxn ang="0">
                <a:pos x="connsiteX3" y="connsiteY3"/>
              </a:cxn>
            </a:cxnLst>
            <a:rect l="l" t="t" r="r" b="b"/>
            <a:pathLst>
              <a:path w="2105025" h="76200">
                <a:moveTo>
                  <a:pt x="2105025" y="0"/>
                </a:moveTo>
                <a:lnTo>
                  <a:pt x="1962150" y="76200"/>
                </a:lnTo>
                <a:lnTo>
                  <a:pt x="0" y="28575"/>
                </a:lnTo>
                <a:lnTo>
                  <a:pt x="2105025" y="0"/>
                </a:lnTo>
                <a:close/>
              </a:path>
            </a:pathLst>
          </a:cu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8" name="Graphic 7">
            <a:extLst>
              <a:ext uri="{FF2B5EF4-FFF2-40B4-BE49-F238E27FC236}">
                <a16:creationId xmlns:a16="http://schemas.microsoft.com/office/drawing/2014/main" id="{3E589928-031A-4AD9-8399-54FDC5DFE6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2262" y="841577"/>
            <a:ext cx="1712392" cy="1786131"/>
          </a:xfrm>
          <a:prstGeom prst="rect">
            <a:avLst/>
          </a:prstGeom>
        </p:spPr>
      </p:pic>
      <p:pic>
        <p:nvPicPr>
          <p:cNvPr id="16" name="Graphic 15">
            <a:extLst>
              <a:ext uri="{FF2B5EF4-FFF2-40B4-BE49-F238E27FC236}">
                <a16:creationId xmlns:a16="http://schemas.microsoft.com/office/drawing/2014/main" id="{3ACC9E51-2002-4B37-BDED-6716D65C24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979529" y="4193268"/>
            <a:ext cx="990600" cy="389744"/>
          </a:xfrm>
          <a:prstGeom prst="rect">
            <a:avLst/>
          </a:prstGeom>
        </p:spPr>
      </p:pic>
    </p:spTree>
    <p:extLst>
      <p:ext uri="{BB962C8B-B14F-4D97-AF65-F5344CB8AC3E}">
        <p14:creationId xmlns:p14="http://schemas.microsoft.com/office/powerpoint/2010/main" val="3089538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DBFECC-3B78-4EB1-BAE8-BD2FFF0451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6712" r="11242" b="15469"/>
          <a:stretch/>
        </p:blipFill>
        <p:spPr>
          <a:xfrm>
            <a:off x="-2" y="245865"/>
            <a:ext cx="9144002" cy="4472632"/>
          </a:xfrm>
          <a:prstGeom prst="rect">
            <a:avLst/>
          </a:prstGeom>
        </p:spPr>
      </p:pic>
      <p:sp>
        <p:nvSpPr>
          <p:cNvPr id="17" name="Rectangle 16">
            <a:extLst>
              <a:ext uri="{FF2B5EF4-FFF2-40B4-BE49-F238E27FC236}">
                <a16:creationId xmlns:a16="http://schemas.microsoft.com/office/drawing/2014/main" id="{DD51843E-EC35-49FF-9C00-A229B0A52F99}"/>
              </a:ext>
            </a:extLst>
          </p:cNvPr>
          <p:cNvSpPr/>
          <p:nvPr/>
        </p:nvSpPr>
        <p:spPr>
          <a:xfrm>
            <a:off x="0" y="2455042"/>
            <a:ext cx="2990849" cy="1534987"/>
          </a:xfrm>
          <a:prstGeom prst="rect">
            <a:avLst/>
          </a:prstGeom>
          <a:solidFill>
            <a:srgbClr val="F1ED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5" name="Content Placeholder 6">
            <a:extLst>
              <a:ext uri="{FF2B5EF4-FFF2-40B4-BE49-F238E27FC236}">
                <a16:creationId xmlns:a16="http://schemas.microsoft.com/office/drawing/2014/main" id="{FD5A008B-4DAB-4D76-A668-205C6C1E380C}"/>
              </a:ext>
            </a:extLst>
          </p:cNvPr>
          <p:cNvSpPr>
            <a:spLocks noGrp="1"/>
          </p:cNvSpPr>
          <p:nvPr>
            <p:ph idx="1"/>
          </p:nvPr>
        </p:nvSpPr>
        <p:spPr>
          <a:xfrm>
            <a:off x="253678" y="2706293"/>
            <a:ext cx="2540322" cy="1070362"/>
          </a:xfrm>
        </p:spPr>
        <p:txBody>
          <a:bodyPr>
            <a:normAutofit fontScale="92500" lnSpcReduction="10000"/>
          </a:bodyPr>
          <a:lstStyle/>
          <a:p>
            <a:pPr marL="0" indent="0">
              <a:buNone/>
            </a:pPr>
            <a:r>
              <a:rPr lang="en-US" dirty="0"/>
              <a:t>A female monarch lays between 300 and 500 eggs over a two to five week period.</a:t>
            </a:r>
            <a:endParaRPr lang="en-US" sz="700" dirty="0"/>
          </a:p>
        </p:txBody>
      </p:sp>
      <p:sp>
        <p:nvSpPr>
          <p:cNvPr id="18" name="Rectangle 17">
            <a:extLst>
              <a:ext uri="{FF2B5EF4-FFF2-40B4-BE49-F238E27FC236}">
                <a16:creationId xmlns:a16="http://schemas.microsoft.com/office/drawing/2014/main" id="{FB1CF02E-4208-4AD0-A7E1-02CC230644D6}"/>
              </a:ext>
            </a:extLst>
          </p:cNvPr>
          <p:cNvSpPr/>
          <p:nvPr/>
        </p:nvSpPr>
        <p:spPr>
          <a:xfrm>
            <a:off x="0" y="0"/>
            <a:ext cx="9144000" cy="209671"/>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10" name="Freeform: Shape 9">
            <a:extLst>
              <a:ext uri="{FF2B5EF4-FFF2-40B4-BE49-F238E27FC236}">
                <a16:creationId xmlns:a16="http://schemas.microsoft.com/office/drawing/2014/main" id="{F2FED0B3-D76B-4FCB-A1E2-91B2091B3765}"/>
              </a:ext>
            </a:extLst>
          </p:cNvPr>
          <p:cNvSpPr/>
          <p:nvPr/>
        </p:nvSpPr>
        <p:spPr>
          <a:xfrm>
            <a:off x="-1" y="212260"/>
            <a:ext cx="3797405" cy="2164199"/>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1" name="Freeform: Shape 10">
            <a:extLst>
              <a:ext uri="{FF2B5EF4-FFF2-40B4-BE49-F238E27FC236}">
                <a16:creationId xmlns:a16="http://schemas.microsoft.com/office/drawing/2014/main" id="{3E9E19F4-9237-4580-9F1F-B5D2D9A25FA4}"/>
              </a:ext>
            </a:extLst>
          </p:cNvPr>
          <p:cNvSpPr/>
          <p:nvPr/>
        </p:nvSpPr>
        <p:spPr>
          <a:xfrm>
            <a:off x="6981825" y="3457575"/>
            <a:ext cx="2165350" cy="1260922"/>
          </a:xfrm>
          <a:custGeom>
            <a:avLst/>
            <a:gdLst>
              <a:gd name="connsiteX0" fmla="*/ 2990850 w 2990850"/>
              <a:gd name="connsiteY0" fmla="*/ 0 h 1701800"/>
              <a:gd name="connsiteX1" fmla="*/ 0 w 2990850"/>
              <a:gd name="connsiteY1" fmla="*/ 1701800 h 1701800"/>
              <a:gd name="connsiteX2" fmla="*/ 2984500 w 2990850"/>
              <a:gd name="connsiteY2" fmla="*/ 1701800 h 1701800"/>
              <a:gd name="connsiteX3" fmla="*/ 2990850 w 2990850"/>
              <a:gd name="connsiteY3" fmla="*/ 0 h 1701800"/>
              <a:gd name="connsiteX0" fmla="*/ 2990850 w 2991461"/>
              <a:gd name="connsiteY0" fmla="*/ 0 h 1701800"/>
              <a:gd name="connsiteX1" fmla="*/ 0 w 2991461"/>
              <a:gd name="connsiteY1" fmla="*/ 1701800 h 1701800"/>
              <a:gd name="connsiteX2" fmla="*/ 2990850 w 2991461"/>
              <a:gd name="connsiteY2" fmla="*/ 1701800 h 1701800"/>
              <a:gd name="connsiteX3" fmla="*/ 2990850 w 2991461"/>
              <a:gd name="connsiteY3" fmla="*/ 0 h 1701800"/>
            </a:gdLst>
            <a:ahLst/>
            <a:cxnLst>
              <a:cxn ang="0">
                <a:pos x="connsiteX0" y="connsiteY0"/>
              </a:cxn>
              <a:cxn ang="0">
                <a:pos x="connsiteX1" y="connsiteY1"/>
              </a:cxn>
              <a:cxn ang="0">
                <a:pos x="connsiteX2" y="connsiteY2"/>
              </a:cxn>
              <a:cxn ang="0">
                <a:pos x="connsiteX3" y="connsiteY3"/>
              </a:cxn>
            </a:cxnLst>
            <a:rect l="l" t="t" r="r" b="b"/>
            <a:pathLst>
              <a:path w="2991461" h="1701800">
                <a:moveTo>
                  <a:pt x="2990850" y="0"/>
                </a:moveTo>
                <a:lnTo>
                  <a:pt x="0" y="1701800"/>
                </a:lnTo>
                <a:lnTo>
                  <a:pt x="2990850" y="1701800"/>
                </a:lnTo>
                <a:cubicBezTo>
                  <a:pt x="2992967" y="1134533"/>
                  <a:pt x="2988733" y="567267"/>
                  <a:pt x="2990850" y="0"/>
                </a:cubicBez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a:extLst>
              <a:ext uri="{FF2B5EF4-FFF2-40B4-BE49-F238E27FC236}">
                <a16:creationId xmlns:a16="http://schemas.microsoft.com/office/drawing/2014/main" id="{709A0BED-3B07-453C-89DD-CF5DCE1178B9}"/>
              </a:ext>
            </a:extLst>
          </p:cNvPr>
          <p:cNvSpPr>
            <a:spLocks noGrp="1"/>
          </p:cNvSpPr>
          <p:nvPr>
            <p:ph type="title"/>
          </p:nvPr>
        </p:nvSpPr>
        <p:spPr>
          <a:xfrm>
            <a:off x="253678" y="290844"/>
            <a:ext cx="2540322" cy="646331"/>
          </a:xfrm>
        </p:spPr>
        <p:txBody>
          <a:bodyPr/>
          <a:lstStyle/>
          <a:p>
            <a:r>
              <a:rPr lang="en-US" sz="3600" dirty="0">
                <a:solidFill>
                  <a:schemeClr val="tx1">
                    <a:lumMod val="85000"/>
                    <a:lumOff val="15000"/>
                  </a:schemeClr>
                </a:solidFill>
              </a:rPr>
              <a:t>Fast Facts</a:t>
            </a:r>
          </a:p>
        </p:txBody>
      </p:sp>
      <p:sp>
        <p:nvSpPr>
          <p:cNvPr id="20" name="Rectangle 19">
            <a:extLst>
              <a:ext uri="{FF2B5EF4-FFF2-40B4-BE49-F238E27FC236}">
                <a16:creationId xmlns:a16="http://schemas.microsoft.com/office/drawing/2014/main" id="{66782F7F-CF77-4FB6-A5BE-FFB798F17341}"/>
              </a:ext>
            </a:extLst>
          </p:cNvPr>
          <p:cNvSpPr/>
          <p:nvPr/>
        </p:nvSpPr>
        <p:spPr>
          <a:xfrm>
            <a:off x="0" y="200146"/>
            <a:ext cx="9144000" cy="45719"/>
          </a:xfrm>
          <a:prstGeom prst="rect">
            <a:avLst/>
          </a:prstGeom>
          <a:solidFill>
            <a:srgbClr val="263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Freeform: Shape 13">
            <a:extLst>
              <a:ext uri="{FF2B5EF4-FFF2-40B4-BE49-F238E27FC236}">
                <a16:creationId xmlns:a16="http://schemas.microsoft.com/office/drawing/2014/main" id="{EB6E9D12-D3F5-4AF3-95D4-16FAA654D744}"/>
              </a:ext>
            </a:extLst>
          </p:cNvPr>
          <p:cNvSpPr/>
          <p:nvPr/>
        </p:nvSpPr>
        <p:spPr>
          <a:xfrm>
            <a:off x="0" y="878628"/>
            <a:ext cx="2305049" cy="79298"/>
          </a:xfrm>
          <a:custGeom>
            <a:avLst/>
            <a:gdLst>
              <a:gd name="connsiteX0" fmla="*/ 2085975 w 2085975"/>
              <a:gd name="connsiteY0" fmla="*/ 0 h 85725"/>
              <a:gd name="connsiteX1" fmla="*/ 1962150 w 2085975"/>
              <a:gd name="connsiteY1" fmla="*/ 85725 h 85725"/>
              <a:gd name="connsiteX2" fmla="*/ 0 w 2085975"/>
              <a:gd name="connsiteY2" fmla="*/ 38100 h 85725"/>
              <a:gd name="connsiteX3" fmla="*/ 2085975 w 2085975"/>
              <a:gd name="connsiteY3" fmla="*/ 0 h 85725"/>
              <a:gd name="connsiteX0" fmla="*/ 2105025 w 2105025"/>
              <a:gd name="connsiteY0" fmla="*/ 0 h 76200"/>
              <a:gd name="connsiteX1" fmla="*/ 1962150 w 2105025"/>
              <a:gd name="connsiteY1" fmla="*/ 76200 h 76200"/>
              <a:gd name="connsiteX2" fmla="*/ 0 w 2105025"/>
              <a:gd name="connsiteY2" fmla="*/ 28575 h 76200"/>
              <a:gd name="connsiteX3" fmla="*/ 2105025 w 2105025"/>
              <a:gd name="connsiteY3" fmla="*/ 0 h 76200"/>
            </a:gdLst>
            <a:ahLst/>
            <a:cxnLst>
              <a:cxn ang="0">
                <a:pos x="connsiteX0" y="connsiteY0"/>
              </a:cxn>
              <a:cxn ang="0">
                <a:pos x="connsiteX1" y="connsiteY1"/>
              </a:cxn>
              <a:cxn ang="0">
                <a:pos x="connsiteX2" y="connsiteY2"/>
              </a:cxn>
              <a:cxn ang="0">
                <a:pos x="connsiteX3" y="connsiteY3"/>
              </a:cxn>
            </a:cxnLst>
            <a:rect l="l" t="t" r="r" b="b"/>
            <a:pathLst>
              <a:path w="2105025" h="76200">
                <a:moveTo>
                  <a:pt x="2105025" y="0"/>
                </a:moveTo>
                <a:lnTo>
                  <a:pt x="1962150" y="76200"/>
                </a:lnTo>
                <a:lnTo>
                  <a:pt x="0" y="28575"/>
                </a:lnTo>
                <a:lnTo>
                  <a:pt x="2105025" y="0"/>
                </a:lnTo>
                <a:close/>
              </a:path>
            </a:pathLst>
          </a:cu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8" name="Graphic 7">
            <a:extLst>
              <a:ext uri="{FF2B5EF4-FFF2-40B4-BE49-F238E27FC236}">
                <a16:creationId xmlns:a16="http://schemas.microsoft.com/office/drawing/2014/main" id="{3E589928-031A-4AD9-8399-54FDC5DFE6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262" y="841577"/>
            <a:ext cx="1712392" cy="1786131"/>
          </a:xfrm>
          <a:prstGeom prst="rect">
            <a:avLst/>
          </a:prstGeom>
        </p:spPr>
      </p:pic>
      <p:pic>
        <p:nvPicPr>
          <p:cNvPr id="15" name="Graphic 14">
            <a:extLst>
              <a:ext uri="{FF2B5EF4-FFF2-40B4-BE49-F238E27FC236}">
                <a16:creationId xmlns:a16="http://schemas.microsoft.com/office/drawing/2014/main" id="{C8138619-9800-4F3A-A541-52D7EBFC0F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79529" y="4193268"/>
            <a:ext cx="990600" cy="389744"/>
          </a:xfrm>
          <a:prstGeom prst="rect">
            <a:avLst/>
          </a:prstGeom>
        </p:spPr>
      </p:pic>
    </p:spTree>
    <p:extLst>
      <p:ext uri="{BB962C8B-B14F-4D97-AF65-F5344CB8AC3E}">
        <p14:creationId xmlns:p14="http://schemas.microsoft.com/office/powerpoint/2010/main" val="36002125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DBFECC-3B78-4EB1-BAE8-BD2FFF0451E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578" b="22658"/>
          <a:stretch/>
        </p:blipFill>
        <p:spPr>
          <a:xfrm flipH="1">
            <a:off x="-3" y="221784"/>
            <a:ext cx="9144001" cy="4496713"/>
          </a:xfrm>
          <a:prstGeom prst="rect">
            <a:avLst/>
          </a:prstGeom>
        </p:spPr>
      </p:pic>
      <p:sp>
        <p:nvSpPr>
          <p:cNvPr id="17" name="Rectangle 16">
            <a:extLst>
              <a:ext uri="{FF2B5EF4-FFF2-40B4-BE49-F238E27FC236}">
                <a16:creationId xmlns:a16="http://schemas.microsoft.com/office/drawing/2014/main" id="{DD51843E-EC35-49FF-9C00-A229B0A52F99}"/>
              </a:ext>
            </a:extLst>
          </p:cNvPr>
          <p:cNvSpPr/>
          <p:nvPr/>
        </p:nvSpPr>
        <p:spPr>
          <a:xfrm>
            <a:off x="0" y="2455042"/>
            <a:ext cx="2990849" cy="1534987"/>
          </a:xfrm>
          <a:prstGeom prst="rect">
            <a:avLst/>
          </a:prstGeom>
          <a:solidFill>
            <a:srgbClr val="F1ED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5" name="Content Placeholder 6">
            <a:extLst>
              <a:ext uri="{FF2B5EF4-FFF2-40B4-BE49-F238E27FC236}">
                <a16:creationId xmlns:a16="http://schemas.microsoft.com/office/drawing/2014/main" id="{FD5A008B-4DAB-4D76-A668-205C6C1E380C}"/>
              </a:ext>
            </a:extLst>
          </p:cNvPr>
          <p:cNvSpPr>
            <a:spLocks noGrp="1"/>
          </p:cNvSpPr>
          <p:nvPr>
            <p:ph idx="1"/>
          </p:nvPr>
        </p:nvSpPr>
        <p:spPr>
          <a:xfrm>
            <a:off x="253678" y="2706293"/>
            <a:ext cx="2540322" cy="1070362"/>
          </a:xfrm>
        </p:spPr>
        <p:txBody>
          <a:bodyPr>
            <a:normAutofit fontScale="92500" lnSpcReduction="10000"/>
          </a:bodyPr>
          <a:lstStyle/>
          <a:p>
            <a:pPr marL="0" indent="0">
              <a:buNone/>
            </a:pPr>
            <a:r>
              <a:rPr lang="en-US" dirty="0"/>
              <a:t>A female monarch lays between 300 and 500 eggs over a two to five week period.</a:t>
            </a:r>
            <a:endParaRPr lang="en-US" sz="700" dirty="0"/>
          </a:p>
        </p:txBody>
      </p:sp>
      <p:sp>
        <p:nvSpPr>
          <p:cNvPr id="18" name="Rectangle 17">
            <a:extLst>
              <a:ext uri="{FF2B5EF4-FFF2-40B4-BE49-F238E27FC236}">
                <a16:creationId xmlns:a16="http://schemas.microsoft.com/office/drawing/2014/main" id="{FB1CF02E-4208-4AD0-A7E1-02CC230644D6}"/>
              </a:ext>
            </a:extLst>
          </p:cNvPr>
          <p:cNvSpPr/>
          <p:nvPr/>
        </p:nvSpPr>
        <p:spPr>
          <a:xfrm>
            <a:off x="0" y="0"/>
            <a:ext cx="9144000" cy="209671"/>
          </a:xfrm>
          <a:prstGeom prst="rect">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10" name="Freeform: Shape 9">
            <a:extLst>
              <a:ext uri="{FF2B5EF4-FFF2-40B4-BE49-F238E27FC236}">
                <a16:creationId xmlns:a16="http://schemas.microsoft.com/office/drawing/2014/main" id="{F2FED0B3-D76B-4FCB-A1E2-91B2091B3765}"/>
              </a:ext>
            </a:extLst>
          </p:cNvPr>
          <p:cNvSpPr/>
          <p:nvPr/>
        </p:nvSpPr>
        <p:spPr>
          <a:xfrm>
            <a:off x="-1" y="212260"/>
            <a:ext cx="3797405" cy="2164199"/>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1" name="Freeform: Shape 10">
            <a:extLst>
              <a:ext uri="{FF2B5EF4-FFF2-40B4-BE49-F238E27FC236}">
                <a16:creationId xmlns:a16="http://schemas.microsoft.com/office/drawing/2014/main" id="{3E9E19F4-9237-4580-9F1F-B5D2D9A25FA4}"/>
              </a:ext>
            </a:extLst>
          </p:cNvPr>
          <p:cNvSpPr/>
          <p:nvPr/>
        </p:nvSpPr>
        <p:spPr>
          <a:xfrm>
            <a:off x="6981825" y="3457575"/>
            <a:ext cx="2165350" cy="1260922"/>
          </a:xfrm>
          <a:custGeom>
            <a:avLst/>
            <a:gdLst>
              <a:gd name="connsiteX0" fmla="*/ 2990850 w 2990850"/>
              <a:gd name="connsiteY0" fmla="*/ 0 h 1701800"/>
              <a:gd name="connsiteX1" fmla="*/ 0 w 2990850"/>
              <a:gd name="connsiteY1" fmla="*/ 1701800 h 1701800"/>
              <a:gd name="connsiteX2" fmla="*/ 2984500 w 2990850"/>
              <a:gd name="connsiteY2" fmla="*/ 1701800 h 1701800"/>
              <a:gd name="connsiteX3" fmla="*/ 2990850 w 2990850"/>
              <a:gd name="connsiteY3" fmla="*/ 0 h 1701800"/>
              <a:gd name="connsiteX0" fmla="*/ 2990850 w 2991461"/>
              <a:gd name="connsiteY0" fmla="*/ 0 h 1701800"/>
              <a:gd name="connsiteX1" fmla="*/ 0 w 2991461"/>
              <a:gd name="connsiteY1" fmla="*/ 1701800 h 1701800"/>
              <a:gd name="connsiteX2" fmla="*/ 2990850 w 2991461"/>
              <a:gd name="connsiteY2" fmla="*/ 1701800 h 1701800"/>
              <a:gd name="connsiteX3" fmla="*/ 2990850 w 2991461"/>
              <a:gd name="connsiteY3" fmla="*/ 0 h 1701800"/>
            </a:gdLst>
            <a:ahLst/>
            <a:cxnLst>
              <a:cxn ang="0">
                <a:pos x="connsiteX0" y="connsiteY0"/>
              </a:cxn>
              <a:cxn ang="0">
                <a:pos x="connsiteX1" y="connsiteY1"/>
              </a:cxn>
              <a:cxn ang="0">
                <a:pos x="connsiteX2" y="connsiteY2"/>
              </a:cxn>
              <a:cxn ang="0">
                <a:pos x="connsiteX3" y="connsiteY3"/>
              </a:cxn>
            </a:cxnLst>
            <a:rect l="l" t="t" r="r" b="b"/>
            <a:pathLst>
              <a:path w="2991461" h="1701800">
                <a:moveTo>
                  <a:pt x="2990850" y="0"/>
                </a:moveTo>
                <a:lnTo>
                  <a:pt x="0" y="1701800"/>
                </a:lnTo>
                <a:lnTo>
                  <a:pt x="2990850" y="1701800"/>
                </a:lnTo>
                <a:cubicBezTo>
                  <a:pt x="2992967" y="1134533"/>
                  <a:pt x="2988733" y="567267"/>
                  <a:pt x="2990850" y="0"/>
                </a:cubicBez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a:extLst>
              <a:ext uri="{FF2B5EF4-FFF2-40B4-BE49-F238E27FC236}">
                <a16:creationId xmlns:a16="http://schemas.microsoft.com/office/drawing/2014/main" id="{709A0BED-3B07-453C-89DD-CF5DCE1178B9}"/>
              </a:ext>
            </a:extLst>
          </p:cNvPr>
          <p:cNvSpPr>
            <a:spLocks noGrp="1"/>
          </p:cNvSpPr>
          <p:nvPr>
            <p:ph type="title"/>
          </p:nvPr>
        </p:nvSpPr>
        <p:spPr>
          <a:xfrm>
            <a:off x="253678" y="290844"/>
            <a:ext cx="2540322" cy="646331"/>
          </a:xfrm>
        </p:spPr>
        <p:txBody>
          <a:bodyPr/>
          <a:lstStyle/>
          <a:p>
            <a:r>
              <a:rPr lang="en-US" sz="3600" dirty="0">
                <a:solidFill>
                  <a:schemeClr val="tx1">
                    <a:lumMod val="85000"/>
                    <a:lumOff val="15000"/>
                  </a:schemeClr>
                </a:solidFill>
              </a:rPr>
              <a:t>Fast Facts</a:t>
            </a:r>
          </a:p>
        </p:txBody>
      </p:sp>
      <p:sp>
        <p:nvSpPr>
          <p:cNvPr id="20" name="Rectangle 19">
            <a:extLst>
              <a:ext uri="{FF2B5EF4-FFF2-40B4-BE49-F238E27FC236}">
                <a16:creationId xmlns:a16="http://schemas.microsoft.com/office/drawing/2014/main" id="{66782F7F-CF77-4FB6-A5BE-FFB798F17341}"/>
              </a:ext>
            </a:extLst>
          </p:cNvPr>
          <p:cNvSpPr/>
          <p:nvPr/>
        </p:nvSpPr>
        <p:spPr>
          <a:xfrm>
            <a:off x="0" y="200146"/>
            <a:ext cx="9144000" cy="45719"/>
          </a:xfrm>
          <a:prstGeom prst="rect">
            <a:avLst/>
          </a:prstGeom>
          <a:solidFill>
            <a:srgbClr val="263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Freeform: Shape 13">
            <a:extLst>
              <a:ext uri="{FF2B5EF4-FFF2-40B4-BE49-F238E27FC236}">
                <a16:creationId xmlns:a16="http://schemas.microsoft.com/office/drawing/2014/main" id="{EB6E9D12-D3F5-4AF3-95D4-16FAA654D744}"/>
              </a:ext>
            </a:extLst>
          </p:cNvPr>
          <p:cNvSpPr/>
          <p:nvPr/>
        </p:nvSpPr>
        <p:spPr>
          <a:xfrm>
            <a:off x="0" y="878628"/>
            <a:ext cx="2305049" cy="79298"/>
          </a:xfrm>
          <a:custGeom>
            <a:avLst/>
            <a:gdLst>
              <a:gd name="connsiteX0" fmla="*/ 2085975 w 2085975"/>
              <a:gd name="connsiteY0" fmla="*/ 0 h 85725"/>
              <a:gd name="connsiteX1" fmla="*/ 1962150 w 2085975"/>
              <a:gd name="connsiteY1" fmla="*/ 85725 h 85725"/>
              <a:gd name="connsiteX2" fmla="*/ 0 w 2085975"/>
              <a:gd name="connsiteY2" fmla="*/ 38100 h 85725"/>
              <a:gd name="connsiteX3" fmla="*/ 2085975 w 2085975"/>
              <a:gd name="connsiteY3" fmla="*/ 0 h 85725"/>
              <a:gd name="connsiteX0" fmla="*/ 2105025 w 2105025"/>
              <a:gd name="connsiteY0" fmla="*/ 0 h 76200"/>
              <a:gd name="connsiteX1" fmla="*/ 1962150 w 2105025"/>
              <a:gd name="connsiteY1" fmla="*/ 76200 h 76200"/>
              <a:gd name="connsiteX2" fmla="*/ 0 w 2105025"/>
              <a:gd name="connsiteY2" fmla="*/ 28575 h 76200"/>
              <a:gd name="connsiteX3" fmla="*/ 2105025 w 2105025"/>
              <a:gd name="connsiteY3" fmla="*/ 0 h 76200"/>
            </a:gdLst>
            <a:ahLst/>
            <a:cxnLst>
              <a:cxn ang="0">
                <a:pos x="connsiteX0" y="connsiteY0"/>
              </a:cxn>
              <a:cxn ang="0">
                <a:pos x="connsiteX1" y="connsiteY1"/>
              </a:cxn>
              <a:cxn ang="0">
                <a:pos x="connsiteX2" y="connsiteY2"/>
              </a:cxn>
              <a:cxn ang="0">
                <a:pos x="connsiteX3" y="connsiteY3"/>
              </a:cxn>
            </a:cxnLst>
            <a:rect l="l" t="t" r="r" b="b"/>
            <a:pathLst>
              <a:path w="2105025" h="76200">
                <a:moveTo>
                  <a:pt x="2105025" y="0"/>
                </a:moveTo>
                <a:lnTo>
                  <a:pt x="1962150" y="76200"/>
                </a:lnTo>
                <a:lnTo>
                  <a:pt x="0" y="28575"/>
                </a:lnTo>
                <a:lnTo>
                  <a:pt x="2105025" y="0"/>
                </a:lnTo>
                <a:close/>
              </a:path>
            </a:pathLst>
          </a:cu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8" name="Graphic 7">
            <a:extLst>
              <a:ext uri="{FF2B5EF4-FFF2-40B4-BE49-F238E27FC236}">
                <a16:creationId xmlns:a16="http://schemas.microsoft.com/office/drawing/2014/main" id="{3E589928-031A-4AD9-8399-54FDC5DFE6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2262" y="841577"/>
            <a:ext cx="1712392" cy="1786131"/>
          </a:xfrm>
          <a:prstGeom prst="rect">
            <a:avLst/>
          </a:prstGeom>
        </p:spPr>
      </p:pic>
      <p:pic>
        <p:nvPicPr>
          <p:cNvPr id="15" name="Graphic 14">
            <a:extLst>
              <a:ext uri="{FF2B5EF4-FFF2-40B4-BE49-F238E27FC236}">
                <a16:creationId xmlns:a16="http://schemas.microsoft.com/office/drawing/2014/main" id="{C8138619-9800-4F3A-A541-52D7EBFC0F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79529" y="4193268"/>
            <a:ext cx="990600" cy="389744"/>
          </a:xfrm>
          <a:prstGeom prst="rect">
            <a:avLst/>
          </a:prstGeom>
        </p:spPr>
      </p:pic>
    </p:spTree>
    <p:extLst>
      <p:ext uri="{BB962C8B-B14F-4D97-AF65-F5344CB8AC3E}">
        <p14:creationId xmlns:p14="http://schemas.microsoft.com/office/powerpoint/2010/main" val="1857330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descr="https://texasbutterflyranch.com/wp-content/uploads/2016/06/Slide1.jpg">
            <a:extLst>
              <a:ext uri="{FF2B5EF4-FFF2-40B4-BE49-F238E27FC236}">
                <a16:creationId xmlns:a16="http://schemas.microsoft.com/office/drawing/2014/main" id="{5C3BF6D2-8626-4706-9600-1F8755EBDDCF}"/>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34319" y="1084394"/>
            <a:ext cx="4601323" cy="3450992"/>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Shape 10">
            <a:extLst>
              <a:ext uri="{FF2B5EF4-FFF2-40B4-BE49-F238E27FC236}">
                <a16:creationId xmlns:a16="http://schemas.microsoft.com/office/drawing/2014/main" id="{AB82A8ED-467D-4AC1-AF70-3DF162DD1385}"/>
              </a:ext>
            </a:extLst>
          </p:cNvPr>
          <p:cNvSpPr/>
          <p:nvPr/>
        </p:nvSpPr>
        <p:spPr>
          <a:xfrm>
            <a:off x="0" y="-9525"/>
            <a:ext cx="2981326" cy="1699103"/>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a:extLst>
              <a:ext uri="{FF2B5EF4-FFF2-40B4-BE49-F238E27FC236}">
                <a16:creationId xmlns:a16="http://schemas.microsoft.com/office/drawing/2014/main" id="{709A0BED-3B07-453C-89DD-CF5DCE1178B9}"/>
              </a:ext>
            </a:extLst>
          </p:cNvPr>
          <p:cNvSpPr>
            <a:spLocks noGrp="1"/>
          </p:cNvSpPr>
          <p:nvPr>
            <p:ph type="title"/>
          </p:nvPr>
        </p:nvSpPr>
        <p:spPr>
          <a:xfrm>
            <a:off x="253678" y="108926"/>
            <a:ext cx="8353424" cy="402336"/>
          </a:xfrm>
        </p:spPr>
        <p:txBody>
          <a:bodyPr/>
          <a:lstStyle/>
          <a:p>
            <a:r>
              <a:rPr lang="en-US" dirty="0">
                <a:solidFill>
                  <a:schemeClr val="tx1">
                    <a:lumMod val="85000"/>
                    <a:lumOff val="15000"/>
                  </a:schemeClr>
                </a:solidFill>
              </a:rPr>
              <a:t>Find Out More</a:t>
            </a:r>
          </a:p>
        </p:txBody>
      </p:sp>
      <p:sp>
        <p:nvSpPr>
          <p:cNvPr id="20" name="Rectangle 19">
            <a:extLst>
              <a:ext uri="{FF2B5EF4-FFF2-40B4-BE49-F238E27FC236}">
                <a16:creationId xmlns:a16="http://schemas.microsoft.com/office/drawing/2014/main" id="{C5A2582B-2E0F-4A53-83A8-04954FA8CCFE}"/>
              </a:ext>
            </a:extLst>
          </p:cNvPr>
          <p:cNvSpPr/>
          <p:nvPr/>
        </p:nvSpPr>
        <p:spPr>
          <a:xfrm>
            <a:off x="-4378110" y="3440336"/>
            <a:ext cx="2139950" cy="97956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 name="Freeform: Shape 2">
            <a:extLst>
              <a:ext uri="{FF2B5EF4-FFF2-40B4-BE49-F238E27FC236}">
                <a16:creationId xmlns:a16="http://schemas.microsoft.com/office/drawing/2014/main" id="{2BE99118-FDAE-40E0-A915-A5544EFBD0A8}"/>
              </a:ext>
            </a:extLst>
          </p:cNvPr>
          <p:cNvSpPr/>
          <p:nvPr/>
        </p:nvSpPr>
        <p:spPr>
          <a:xfrm>
            <a:off x="4732944" y="2032358"/>
            <a:ext cx="592667" cy="1909233"/>
          </a:xfrm>
          <a:custGeom>
            <a:avLst/>
            <a:gdLst>
              <a:gd name="connsiteX0" fmla="*/ 554567 w 592667"/>
              <a:gd name="connsiteY0" fmla="*/ 0 h 1909233"/>
              <a:gd name="connsiteX1" fmla="*/ 554567 w 592667"/>
              <a:gd name="connsiteY1" fmla="*/ 84666 h 1909233"/>
              <a:gd name="connsiteX2" fmla="*/ 558800 w 592667"/>
              <a:gd name="connsiteY2" fmla="*/ 165100 h 1909233"/>
              <a:gd name="connsiteX3" fmla="*/ 524934 w 592667"/>
              <a:gd name="connsiteY3" fmla="*/ 228600 h 1909233"/>
              <a:gd name="connsiteX4" fmla="*/ 516467 w 592667"/>
              <a:gd name="connsiteY4" fmla="*/ 296333 h 1909233"/>
              <a:gd name="connsiteX5" fmla="*/ 554567 w 592667"/>
              <a:gd name="connsiteY5" fmla="*/ 423333 h 1909233"/>
              <a:gd name="connsiteX6" fmla="*/ 588434 w 592667"/>
              <a:gd name="connsiteY6" fmla="*/ 516466 h 1909233"/>
              <a:gd name="connsiteX7" fmla="*/ 592667 w 592667"/>
              <a:gd name="connsiteY7" fmla="*/ 571500 h 1909233"/>
              <a:gd name="connsiteX8" fmla="*/ 571500 w 592667"/>
              <a:gd name="connsiteY8" fmla="*/ 694266 h 1909233"/>
              <a:gd name="connsiteX9" fmla="*/ 524934 w 592667"/>
              <a:gd name="connsiteY9" fmla="*/ 800100 h 1909233"/>
              <a:gd name="connsiteX10" fmla="*/ 486834 w 592667"/>
              <a:gd name="connsiteY10" fmla="*/ 876300 h 1909233"/>
              <a:gd name="connsiteX11" fmla="*/ 444500 w 592667"/>
              <a:gd name="connsiteY11" fmla="*/ 956733 h 1909233"/>
              <a:gd name="connsiteX12" fmla="*/ 448734 w 592667"/>
              <a:gd name="connsiteY12" fmla="*/ 1024466 h 1909233"/>
              <a:gd name="connsiteX13" fmla="*/ 402167 w 592667"/>
              <a:gd name="connsiteY13" fmla="*/ 1176866 h 1909233"/>
              <a:gd name="connsiteX14" fmla="*/ 351367 w 592667"/>
              <a:gd name="connsiteY14" fmla="*/ 1240366 h 1909233"/>
              <a:gd name="connsiteX15" fmla="*/ 249767 w 592667"/>
              <a:gd name="connsiteY15" fmla="*/ 1325033 h 1909233"/>
              <a:gd name="connsiteX16" fmla="*/ 182034 w 592667"/>
              <a:gd name="connsiteY16" fmla="*/ 1397000 h 1909233"/>
              <a:gd name="connsiteX17" fmla="*/ 139700 w 592667"/>
              <a:gd name="connsiteY17" fmla="*/ 1413933 h 1909233"/>
              <a:gd name="connsiteX18" fmla="*/ 110067 w 592667"/>
              <a:gd name="connsiteY18" fmla="*/ 1468966 h 1909233"/>
              <a:gd name="connsiteX19" fmla="*/ 80434 w 592667"/>
              <a:gd name="connsiteY19" fmla="*/ 1579033 h 1909233"/>
              <a:gd name="connsiteX20" fmla="*/ 55034 w 592667"/>
              <a:gd name="connsiteY20" fmla="*/ 1659466 h 1909233"/>
              <a:gd name="connsiteX21" fmla="*/ 42334 w 592667"/>
              <a:gd name="connsiteY21" fmla="*/ 1752600 h 1909233"/>
              <a:gd name="connsiteX22" fmla="*/ 0 w 592667"/>
              <a:gd name="connsiteY22" fmla="*/ 1909233 h 190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92667" h="1909233">
                <a:moveTo>
                  <a:pt x="554567" y="0"/>
                </a:moveTo>
                <a:lnTo>
                  <a:pt x="554567" y="84666"/>
                </a:lnTo>
                <a:lnTo>
                  <a:pt x="558800" y="165100"/>
                </a:lnTo>
                <a:lnTo>
                  <a:pt x="524934" y="228600"/>
                </a:lnTo>
                <a:lnTo>
                  <a:pt x="516467" y="296333"/>
                </a:lnTo>
                <a:lnTo>
                  <a:pt x="554567" y="423333"/>
                </a:lnTo>
                <a:lnTo>
                  <a:pt x="588434" y="516466"/>
                </a:lnTo>
                <a:lnTo>
                  <a:pt x="592667" y="571500"/>
                </a:lnTo>
                <a:lnTo>
                  <a:pt x="571500" y="694266"/>
                </a:lnTo>
                <a:lnTo>
                  <a:pt x="524934" y="800100"/>
                </a:lnTo>
                <a:lnTo>
                  <a:pt x="486834" y="876300"/>
                </a:lnTo>
                <a:lnTo>
                  <a:pt x="444500" y="956733"/>
                </a:lnTo>
                <a:lnTo>
                  <a:pt x="448734" y="1024466"/>
                </a:lnTo>
                <a:lnTo>
                  <a:pt x="402167" y="1176866"/>
                </a:lnTo>
                <a:lnTo>
                  <a:pt x="351367" y="1240366"/>
                </a:lnTo>
                <a:lnTo>
                  <a:pt x="249767" y="1325033"/>
                </a:lnTo>
                <a:lnTo>
                  <a:pt x="182034" y="1397000"/>
                </a:lnTo>
                <a:lnTo>
                  <a:pt x="139700" y="1413933"/>
                </a:lnTo>
                <a:lnTo>
                  <a:pt x="110067" y="1468966"/>
                </a:lnTo>
                <a:lnTo>
                  <a:pt x="80434" y="1579033"/>
                </a:lnTo>
                <a:lnTo>
                  <a:pt x="55034" y="1659466"/>
                </a:lnTo>
                <a:lnTo>
                  <a:pt x="42334" y="1752600"/>
                </a:lnTo>
                <a:lnTo>
                  <a:pt x="0" y="1909233"/>
                </a:lnTo>
              </a:path>
            </a:pathLst>
          </a:custGeom>
          <a:noFill/>
          <a:ln w="317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Shape 5">
            <a:extLst>
              <a:ext uri="{FF2B5EF4-FFF2-40B4-BE49-F238E27FC236}">
                <a16:creationId xmlns:a16="http://schemas.microsoft.com/office/drawing/2014/main" id="{3B37A7F6-C6D3-4463-B772-FBB99E3887B6}"/>
              </a:ext>
            </a:extLst>
          </p:cNvPr>
          <p:cNvSpPr/>
          <p:nvPr/>
        </p:nvSpPr>
        <p:spPr>
          <a:xfrm>
            <a:off x="5291743" y="2193224"/>
            <a:ext cx="84668" cy="347134"/>
          </a:xfrm>
          <a:custGeom>
            <a:avLst/>
            <a:gdLst>
              <a:gd name="connsiteX0" fmla="*/ 0 w 71967"/>
              <a:gd name="connsiteY0" fmla="*/ 0 h 347134"/>
              <a:gd name="connsiteX1" fmla="*/ 63500 w 71967"/>
              <a:gd name="connsiteY1" fmla="*/ 131234 h 347134"/>
              <a:gd name="connsiteX2" fmla="*/ 71967 w 71967"/>
              <a:gd name="connsiteY2" fmla="*/ 169334 h 347134"/>
              <a:gd name="connsiteX3" fmla="*/ 71967 w 71967"/>
              <a:gd name="connsiteY3" fmla="*/ 232834 h 347134"/>
              <a:gd name="connsiteX4" fmla="*/ 67734 w 71967"/>
              <a:gd name="connsiteY4" fmla="*/ 262467 h 347134"/>
              <a:gd name="connsiteX5" fmla="*/ 67734 w 71967"/>
              <a:gd name="connsiteY5" fmla="*/ 296334 h 347134"/>
              <a:gd name="connsiteX6" fmla="*/ 50800 w 71967"/>
              <a:gd name="connsiteY6" fmla="*/ 321734 h 347134"/>
              <a:gd name="connsiteX7" fmla="*/ 16934 w 71967"/>
              <a:gd name="connsiteY7" fmla="*/ 347134 h 347134"/>
              <a:gd name="connsiteX0" fmla="*/ 0 w 76201"/>
              <a:gd name="connsiteY0" fmla="*/ 0 h 364067"/>
              <a:gd name="connsiteX1" fmla="*/ 67734 w 76201"/>
              <a:gd name="connsiteY1" fmla="*/ 148167 h 364067"/>
              <a:gd name="connsiteX2" fmla="*/ 76201 w 76201"/>
              <a:gd name="connsiteY2" fmla="*/ 186267 h 364067"/>
              <a:gd name="connsiteX3" fmla="*/ 76201 w 76201"/>
              <a:gd name="connsiteY3" fmla="*/ 249767 h 364067"/>
              <a:gd name="connsiteX4" fmla="*/ 71968 w 76201"/>
              <a:gd name="connsiteY4" fmla="*/ 279400 h 364067"/>
              <a:gd name="connsiteX5" fmla="*/ 71968 w 76201"/>
              <a:gd name="connsiteY5" fmla="*/ 313267 h 364067"/>
              <a:gd name="connsiteX6" fmla="*/ 55034 w 76201"/>
              <a:gd name="connsiteY6" fmla="*/ 338667 h 364067"/>
              <a:gd name="connsiteX7" fmla="*/ 21168 w 76201"/>
              <a:gd name="connsiteY7" fmla="*/ 364067 h 364067"/>
              <a:gd name="connsiteX0" fmla="*/ 0 w 84668"/>
              <a:gd name="connsiteY0" fmla="*/ 0 h 347134"/>
              <a:gd name="connsiteX1" fmla="*/ 76201 w 84668"/>
              <a:gd name="connsiteY1" fmla="*/ 131234 h 347134"/>
              <a:gd name="connsiteX2" fmla="*/ 84668 w 84668"/>
              <a:gd name="connsiteY2" fmla="*/ 169334 h 347134"/>
              <a:gd name="connsiteX3" fmla="*/ 84668 w 84668"/>
              <a:gd name="connsiteY3" fmla="*/ 232834 h 347134"/>
              <a:gd name="connsiteX4" fmla="*/ 80435 w 84668"/>
              <a:gd name="connsiteY4" fmla="*/ 262467 h 347134"/>
              <a:gd name="connsiteX5" fmla="*/ 80435 w 84668"/>
              <a:gd name="connsiteY5" fmla="*/ 296334 h 347134"/>
              <a:gd name="connsiteX6" fmla="*/ 63501 w 84668"/>
              <a:gd name="connsiteY6" fmla="*/ 321734 h 347134"/>
              <a:gd name="connsiteX7" fmla="*/ 29635 w 84668"/>
              <a:gd name="connsiteY7" fmla="*/ 347134 h 347134"/>
              <a:gd name="connsiteX0" fmla="*/ 0 w 84668"/>
              <a:gd name="connsiteY0" fmla="*/ 0 h 347134"/>
              <a:gd name="connsiteX1" fmla="*/ 76201 w 84668"/>
              <a:gd name="connsiteY1" fmla="*/ 131234 h 347134"/>
              <a:gd name="connsiteX2" fmla="*/ 84668 w 84668"/>
              <a:gd name="connsiteY2" fmla="*/ 169334 h 347134"/>
              <a:gd name="connsiteX3" fmla="*/ 84668 w 84668"/>
              <a:gd name="connsiteY3" fmla="*/ 232834 h 347134"/>
              <a:gd name="connsiteX4" fmla="*/ 80435 w 84668"/>
              <a:gd name="connsiteY4" fmla="*/ 262467 h 347134"/>
              <a:gd name="connsiteX5" fmla="*/ 80435 w 84668"/>
              <a:gd name="connsiteY5" fmla="*/ 296334 h 347134"/>
              <a:gd name="connsiteX6" fmla="*/ 63501 w 84668"/>
              <a:gd name="connsiteY6" fmla="*/ 321734 h 347134"/>
              <a:gd name="connsiteX7" fmla="*/ 29635 w 84668"/>
              <a:gd name="connsiteY7" fmla="*/ 347134 h 34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668" h="347134">
                <a:moveTo>
                  <a:pt x="0" y="0"/>
                </a:moveTo>
                <a:cubicBezTo>
                  <a:pt x="16933" y="22578"/>
                  <a:pt x="50801" y="87489"/>
                  <a:pt x="76201" y="131234"/>
                </a:cubicBezTo>
                <a:lnTo>
                  <a:pt x="84668" y="169334"/>
                </a:lnTo>
                <a:lnTo>
                  <a:pt x="84668" y="232834"/>
                </a:lnTo>
                <a:lnTo>
                  <a:pt x="80435" y="262467"/>
                </a:lnTo>
                <a:lnTo>
                  <a:pt x="80435" y="296334"/>
                </a:lnTo>
                <a:lnTo>
                  <a:pt x="63501" y="321734"/>
                </a:lnTo>
                <a:lnTo>
                  <a:pt x="29635" y="347134"/>
                </a:lnTo>
              </a:path>
            </a:pathLst>
          </a:custGeom>
          <a:noFill/>
          <a:ln w="317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id="{68B480FB-CE63-442B-8953-0F5E71789C29}"/>
              </a:ext>
            </a:extLst>
          </p:cNvPr>
          <p:cNvSpPr/>
          <p:nvPr/>
        </p:nvSpPr>
        <p:spPr>
          <a:xfrm>
            <a:off x="5259737" y="2521308"/>
            <a:ext cx="122938" cy="105833"/>
          </a:xfrm>
          <a:prstGeom prst="star5">
            <a:avLst/>
          </a:prstGeom>
          <a:solidFill>
            <a:srgbClr val="F9792B"/>
          </a:solidFill>
          <a:ln w="63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0" name="Star: 5 Points 29">
            <a:extLst>
              <a:ext uri="{FF2B5EF4-FFF2-40B4-BE49-F238E27FC236}">
                <a16:creationId xmlns:a16="http://schemas.microsoft.com/office/drawing/2014/main" id="{2B9C8A7B-9585-4A16-944F-DEC5FBB454FF}"/>
              </a:ext>
            </a:extLst>
          </p:cNvPr>
          <p:cNvSpPr/>
          <p:nvPr/>
        </p:nvSpPr>
        <p:spPr>
          <a:xfrm>
            <a:off x="5159040" y="2826108"/>
            <a:ext cx="122938" cy="105833"/>
          </a:xfrm>
          <a:prstGeom prst="star5">
            <a:avLst/>
          </a:prstGeom>
          <a:solidFill>
            <a:srgbClr val="F9792B"/>
          </a:solidFill>
          <a:ln w="63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1" name="Star: 5 Points 30">
            <a:extLst>
              <a:ext uri="{FF2B5EF4-FFF2-40B4-BE49-F238E27FC236}">
                <a16:creationId xmlns:a16="http://schemas.microsoft.com/office/drawing/2014/main" id="{2FB6B926-E027-4BCC-8AC8-8DA0B3895BBD}"/>
              </a:ext>
            </a:extLst>
          </p:cNvPr>
          <p:cNvSpPr/>
          <p:nvPr/>
        </p:nvSpPr>
        <p:spPr>
          <a:xfrm>
            <a:off x="4827937" y="3359508"/>
            <a:ext cx="122938" cy="105833"/>
          </a:xfrm>
          <a:prstGeom prst="star5">
            <a:avLst/>
          </a:prstGeom>
          <a:solidFill>
            <a:srgbClr val="F9792B"/>
          </a:solidFill>
          <a:ln w="63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Star: 5 Points 31">
            <a:extLst>
              <a:ext uri="{FF2B5EF4-FFF2-40B4-BE49-F238E27FC236}">
                <a16:creationId xmlns:a16="http://schemas.microsoft.com/office/drawing/2014/main" id="{2F3C550C-463C-409E-ABC2-EBEE49D77E87}"/>
              </a:ext>
            </a:extLst>
          </p:cNvPr>
          <p:cNvSpPr/>
          <p:nvPr/>
        </p:nvSpPr>
        <p:spPr>
          <a:xfrm>
            <a:off x="4753597" y="3568303"/>
            <a:ext cx="122938" cy="105833"/>
          </a:xfrm>
          <a:prstGeom prst="star5">
            <a:avLst/>
          </a:prstGeom>
          <a:solidFill>
            <a:srgbClr val="F9792B"/>
          </a:solidFill>
          <a:ln w="63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8" name="Rectangle 7">
            <a:extLst>
              <a:ext uri="{FF2B5EF4-FFF2-40B4-BE49-F238E27FC236}">
                <a16:creationId xmlns:a16="http://schemas.microsoft.com/office/drawing/2014/main" id="{A1F35182-2DBB-48BC-8589-DEC9A86AB8BE}"/>
              </a:ext>
            </a:extLst>
          </p:cNvPr>
          <p:cNvSpPr/>
          <p:nvPr/>
        </p:nvSpPr>
        <p:spPr>
          <a:xfrm>
            <a:off x="5435678" y="2387957"/>
            <a:ext cx="651933" cy="372533"/>
          </a:xfrm>
          <a:prstGeom prst="rect">
            <a:avLst/>
          </a:prstGeom>
          <a:solidFill>
            <a:srgbClr val="F9792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3" name="Rectangle 32">
            <a:extLst>
              <a:ext uri="{FF2B5EF4-FFF2-40B4-BE49-F238E27FC236}">
                <a16:creationId xmlns:a16="http://schemas.microsoft.com/office/drawing/2014/main" id="{136C24E1-11A5-4F2C-9ECD-0352186875A9}"/>
              </a:ext>
            </a:extLst>
          </p:cNvPr>
          <p:cNvSpPr/>
          <p:nvPr/>
        </p:nvSpPr>
        <p:spPr>
          <a:xfrm>
            <a:off x="4163133" y="2982661"/>
            <a:ext cx="651933" cy="370417"/>
          </a:xfrm>
          <a:prstGeom prst="rect">
            <a:avLst/>
          </a:prstGeom>
          <a:solidFill>
            <a:srgbClr val="F9792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4" name="Rectangle 33">
            <a:extLst>
              <a:ext uri="{FF2B5EF4-FFF2-40B4-BE49-F238E27FC236}">
                <a16:creationId xmlns:a16="http://schemas.microsoft.com/office/drawing/2014/main" id="{7B036BBD-92D5-4992-8C10-3899CD39951C}"/>
              </a:ext>
            </a:extLst>
          </p:cNvPr>
          <p:cNvSpPr/>
          <p:nvPr/>
        </p:nvSpPr>
        <p:spPr>
          <a:xfrm>
            <a:off x="4366846" y="2538663"/>
            <a:ext cx="651933" cy="370417"/>
          </a:xfrm>
          <a:prstGeom prst="rect">
            <a:avLst/>
          </a:prstGeom>
          <a:solidFill>
            <a:srgbClr val="F9792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5" name="Rectangle 34">
            <a:extLst>
              <a:ext uri="{FF2B5EF4-FFF2-40B4-BE49-F238E27FC236}">
                <a16:creationId xmlns:a16="http://schemas.microsoft.com/office/drawing/2014/main" id="{DFAFAC54-DDE4-44F4-814E-BB33F089ED76}"/>
              </a:ext>
            </a:extLst>
          </p:cNvPr>
          <p:cNvSpPr/>
          <p:nvPr/>
        </p:nvSpPr>
        <p:spPr>
          <a:xfrm>
            <a:off x="4933989" y="3488664"/>
            <a:ext cx="651933" cy="370417"/>
          </a:xfrm>
          <a:prstGeom prst="rect">
            <a:avLst/>
          </a:prstGeom>
          <a:solidFill>
            <a:srgbClr val="F9792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 name="Rectangle 9">
            <a:extLst>
              <a:ext uri="{FF2B5EF4-FFF2-40B4-BE49-F238E27FC236}">
                <a16:creationId xmlns:a16="http://schemas.microsoft.com/office/drawing/2014/main" id="{83CC24A3-6932-47D5-91E5-485A932B5331}"/>
              </a:ext>
            </a:extLst>
          </p:cNvPr>
          <p:cNvSpPr/>
          <p:nvPr/>
        </p:nvSpPr>
        <p:spPr>
          <a:xfrm>
            <a:off x="4789037" y="1198391"/>
            <a:ext cx="1501774" cy="609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26" name="Picture 25">
            <a:extLst>
              <a:ext uri="{FF2B5EF4-FFF2-40B4-BE49-F238E27FC236}">
                <a16:creationId xmlns:a16="http://schemas.microsoft.com/office/drawing/2014/main" id="{F717E546-A7B6-44C2-99FD-7FC37742DC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38577" y="1566681"/>
            <a:ext cx="506331" cy="506331"/>
          </a:xfrm>
          <a:prstGeom prst="rect">
            <a:avLst/>
          </a:prstGeom>
        </p:spPr>
      </p:pic>
      <p:pic>
        <p:nvPicPr>
          <p:cNvPr id="60" name="Picture 59">
            <a:extLst>
              <a:ext uri="{FF2B5EF4-FFF2-40B4-BE49-F238E27FC236}">
                <a16:creationId xmlns:a16="http://schemas.microsoft.com/office/drawing/2014/main" id="{E11E3B9F-6535-4E81-931B-BE28B856A8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0780" y="3389802"/>
            <a:ext cx="362986" cy="675452"/>
          </a:xfrm>
          <a:prstGeom prst="rect">
            <a:avLst/>
          </a:prstGeom>
        </p:spPr>
      </p:pic>
      <p:pic>
        <p:nvPicPr>
          <p:cNvPr id="62" name="Picture 61">
            <a:extLst>
              <a:ext uri="{FF2B5EF4-FFF2-40B4-BE49-F238E27FC236}">
                <a16:creationId xmlns:a16="http://schemas.microsoft.com/office/drawing/2014/main" id="{39AD8FB4-302C-44E2-8B6F-29C6DE5187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95897" y="2927589"/>
            <a:ext cx="362986" cy="903720"/>
          </a:xfrm>
          <a:prstGeom prst="rect">
            <a:avLst/>
          </a:prstGeom>
        </p:spPr>
      </p:pic>
      <p:pic>
        <p:nvPicPr>
          <p:cNvPr id="6144" name="Picture 6143">
            <a:extLst>
              <a:ext uri="{FF2B5EF4-FFF2-40B4-BE49-F238E27FC236}">
                <a16:creationId xmlns:a16="http://schemas.microsoft.com/office/drawing/2014/main" id="{3863C514-09C2-44AD-9BBE-9FC57EAED3B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25888" y="2155651"/>
            <a:ext cx="361114" cy="903720"/>
          </a:xfrm>
          <a:prstGeom prst="rect">
            <a:avLst/>
          </a:prstGeom>
        </p:spPr>
      </p:pic>
      <p:pic>
        <p:nvPicPr>
          <p:cNvPr id="6147" name="Picture 6146">
            <a:extLst>
              <a:ext uri="{FF2B5EF4-FFF2-40B4-BE49-F238E27FC236}">
                <a16:creationId xmlns:a16="http://schemas.microsoft.com/office/drawing/2014/main" id="{8D7A7BE2-EEFC-45CD-985E-FAD4FCD063B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16470" y="2143328"/>
            <a:ext cx="269432" cy="851332"/>
          </a:xfrm>
          <a:prstGeom prst="rect">
            <a:avLst/>
          </a:prstGeom>
        </p:spPr>
      </p:pic>
      <p:pic>
        <p:nvPicPr>
          <p:cNvPr id="17" name="Graphic 16">
            <a:extLst>
              <a:ext uri="{FF2B5EF4-FFF2-40B4-BE49-F238E27FC236}">
                <a16:creationId xmlns:a16="http://schemas.microsoft.com/office/drawing/2014/main" id="{10DEB43B-9DF2-426B-8578-878AFF1C7C7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5881233" y="1753810"/>
            <a:ext cx="539905" cy="549696"/>
          </a:xfrm>
          <a:prstGeom prst="rect">
            <a:avLst/>
          </a:prstGeom>
        </p:spPr>
      </p:pic>
      <p:sp>
        <p:nvSpPr>
          <p:cNvPr id="12" name="Rectangle 11">
            <a:extLst>
              <a:ext uri="{FF2B5EF4-FFF2-40B4-BE49-F238E27FC236}">
                <a16:creationId xmlns:a16="http://schemas.microsoft.com/office/drawing/2014/main" id="{EB39D466-FC19-4EFB-A375-1239BBABE382}"/>
              </a:ext>
            </a:extLst>
          </p:cNvPr>
          <p:cNvSpPr/>
          <p:nvPr/>
        </p:nvSpPr>
        <p:spPr>
          <a:xfrm>
            <a:off x="1100000" y="2892796"/>
            <a:ext cx="1700683" cy="830997"/>
          </a:xfrm>
          <a:prstGeom prst="rect">
            <a:avLst/>
          </a:prstGeom>
        </p:spPr>
        <p:txBody>
          <a:bodyPr wrap="square">
            <a:spAutoFit/>
          </a:bodyPr>
          <a:lstStyle/>
          <a:p>
            <a:pPr>
              <a:buClr>
                <a:schemeClr val="accent2"/>
              </a:buClr>
            </a:pPr>
            <a:r>
              <a:rPr lang="en-US" sz="1200" dirty="0">
                <a:latin typeface="Franklin Gothic Book" panose="020B0503020102020204" pitchFamily="34" charset="0"/>
              </a:rPr>
              <a:t>Click on the butterfly above to learn more about monarchs throughout the state! </a:t>
            </a:r>
          </a:p>
        </p:txBody>
      </p:sp>
      <p:pic>
        <p:nvPicPr>
          <p:cNvPr id="15" name="Picture 14">
            <a:hlinkClick r:id="rId11" action="ppaction://hlinksldjump"/>
            <a:extLst>
              <a:ext uri="{FF2B5EF4-FFF2-40B4-BE49-F238E27FC236}">
                <a16:creationId xmlns:a16="http://schemas.microsoft.com/office/drawing/2014/main" id="{FB128BC5-986F-485F-A983-FDC5935E4FE1}"/>
              </a:ext>
            </a:extLst>
          </p:cNvPr>
          <p:cNvPicPr>
            <a:picLocks noChangeAspect="1"/>
          </p:cNvPicPr>
          <p:nvPr/>
        </p:nvPicPr>
        <p:blipFill>
          <a:blip r:embed="rId12"/>
          <a:stretch>
            <a:fillRect/>
          </a:stretch>
        </p:blipFill>
        <p:spPr>
          <a:xfrm>
            <a:off x="462140" y="620047"/>
            <a:ext cx="2809875" cy="1676400"/>
          </a:xfrm>
          <a:prstGeom prst="rect">
            <a:avLst/>
          </a:prstGeom>
        </p:spPr>
      </p:pic>
      <p:sp>
        <p:nvSpPr>
          <p:cNvPr id="18" name="Arrow: Down 17">
            <a:extLst>
              <a:ext uri="{FF2B5EF4-FFF2-40B4-BE49-F238E27FC236}">
                <a16:creationId xmlns:a16="http://schemas.microsoft.com/office/drawing/2014/main" id="{BF57ADA7-BF58-4EF3-A1C3-1C25FEEE06D3}"/>
              </a:ext>
            </a:extLst>
          </p:cNvPr>
          <p:cNvSpPr/>
          <p:nvPr/>
        </p:nvSpPr>
        <p:spPr>
          <a:xfrm rot="10800000">
            <a:off x="1578423" y="2395014"/>
            <a:ext cx="576263" cy="478312"/>
          </a:xfrm>
          <a:prstGeom prst="downArrow">
            <a:avLst>
              <a:gd name="adj1" fmla="val 50000"/>
              <a:gd name="adj2" fmla="val 69914"/>
            </a:avLst>
          </a:prstGeom>
          <a:solidFill>
            <a:srgbClr val="F979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740974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0A54846-02BA-4BBE-BDE9-4FFB4F6C413F}"/>
              </a:ext>
            </a:extLst>
          </p:cNvPr>
          <p:cNvSpPr/>
          <p:nvPr/>
        </p:nvSpPr>
        <p:spPr>
          <a:xfrm>
            <a:off x="1027434" y="2387957"/>
            <a:ext cx="4672494" cy="221261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Rectangle 13">
            <a:extLst>
              <a:ext uri="{FF2B5EF4-FFF2-40B4-BE49-F238E27FC236}">
                <a16:creationId xmlns:a16="http://schemas.microsoft.com/office/drawing/2014/main" id="{3108C074-D18E-4161-9258-EEB151BE82F4}"/>
              </a:ext>
            </a:extLst>
          </p:cNvPr>
          <p:cNvSpPr/>
          <p:nvPr/>
        </p:nvSpPr>
        <p:spPr>
          <a:xfrm>
            <a:off x="1237746" y="1106424"/>
            <a:ext cx="5162550" cy="3067050"/>
          </a:xfrm>
          <a:prstGeom prst="rect">
            <a:avLst/>
          </a:prstGeom>
          <a:solidFill>
            <a:schemeClr val="tx1"/>
          </a:solidFill>
          <a:ln w="1143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9" name="pDjRF026HAI">
            <a:hlinkClick r:id="" action="ppaction://media"/>
            <a:extLst>
              <a:ext uri="{FF2B5EF4-FFF2-40B4-BE49-F238E27FC236}">
                <a16:creationId xmlns:a16="http://schemas.microsoft.com/office/drawing/2014/main" id="{0C821A3E-A706-480B-841C-515986E1B932}"/>
              </a:ext>
            </a:extLst>
          </p:cNvPr>
          <p:cNvPicPr>
            <a:picLocks noRot="1" noChangeAspect="1"/>
          </p:cNvPicPr>
          <p:nvPr>
            <a:videoFile r:link="rId1"/>
          </p:nvPr>
        </p:nvPicPr>
        <p:blipFill rotWithShape="1">
          <a:blip r:embed="rId4"/>
          <a:srcRect l="1271" t="12992" r="1619" b="13377"/>
          <a:stretch/>
        </p:blipFill>
        <p:spPr>
          <a:xfrm>
            <a:off x="1292610" y="1158752"/>
            <a:ext cx="5047956" cy="2958786"/>
          </a:xfrm>
          <a:prstGeom prst="rect">
            <a:avLst/>
          </a:prstGeom>
          <a:ln w="117475">
            <a:solidFill>
              <a:schemeClr val="tx1"/>
            </a:solidFill>
            <a:miter lim="800000"/>
          </a:ln>
        </p:spPr>
      </p:pic>
      <p:pic>
        <p:nvPicPr>
          <p:cNvPr id="24" name="Picture 23">
            <a:extLst>
              <a:ext uri="{FF2B5EF4-FFF2-40B4-BE49-F238E27FC236}">
                <a16:creationId xmlns:a16="http://schemas.microsoft.com/office/drawing/2014/main" id="{962C9915-7567-4E52-88CF-4A2C6A93A695}"/>
              </a:ext>
            </a:extLst>
          </p:cNvPr>
          <p:cNvPicPr>
            <a:picLocks noChangeAspect="1"/>
          </p:cNvPicPr>
          <p:nvPr/>
        </p:nvPicPr>
        <p:blipFill>
          <a:blip r:embed="rId5"/>
          <a:stretch>
            <a:fillRect/>
          </a:stretch>
        </p:blipFill>
        <p:spPr>
          <a:xfrm>
            <a:off x="830252" y="734663"/>
            <a:ext cx="5810250" cy="3886200"/>
          </a:xfrm>
          <a:prstGeom prst="rect">
            <a:avLst/>
          </a:prstGeom>
        </p:spPr>
      </p:pic>
      <p:grpSp>
        <p:nvGrpSpPr>
          <p:cNvPr id="12" name="Group 11">
            <a:extLst>
              <a:ext uri="{FF2B5EF4-FFF2-40B4-BE49-F238E27FC236}">
                <a16:creationId xmlns:a16="http://schemas.microsoft.com/office/drawing/2014/main" id="{6AA10FDD-FF5F-4E56-9275-02F311F5FC3F}"/>
              </a:ext>
            </a:extLst>
          </p:cNvPr>
          <p:cNvGrpSpPr/>
          <p:nvPr/>
        </p:nvGrpSpPr>
        <p:grpSpPr>
          <a:xfrm>
            <a:off x="6442613" y="1682440"/>
            <a:ext cx="1599912" cy="1883159"/>
            <a:chOff x="6442613" y="1682439"/>
            <a:chExt cx="726226" cy="2308298"/>
          </a:xfrm>
        </p:grpSpPr>
        <p:sp>
          <p:nvSpPr>
            <p:cNvPr id="37" name="Rectangle 36">
              <a:extLst>
                <a:ext uri="{FF2B5EF4-FFF2-40B4-BE49-F238E27FC236}">
                  <a16:creationId xmlns:a16="http://schemas.microsoft.com/office/drawing/2014/main" id="{2EE7CBBC-4FE4-4231-9194-14E975B858A5}"/>
                </a:ext>
              </a:extLst>
            </p:cNvPr>
            <p:cNvSpPr/>
            <p:nvPr/>
          </p:nvSpPr>
          <p:spPr>
            <a:xfrm>
              <a:off x="6442617" y="1682439"/>
              <a:ext cx="726222" cy="4125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8" name="Rectangle 37">
              <a:extLst>
                <a:ext uri="{FF2B5EF4-FFF2-40B4-BE49-F238E27FC236}">
                  <a16:creationId xmlns:a16="http://schemas.microsoft.com/office/drawing/2014/main" id="{718849A7-FF3E-4567-8D0C-B0E3D7765D69}"/>
                </a:ext>
              </a:extLst>
            </p:cNvPr>
            <p:cNvSpPr/>
            <p:nvPr/>
          </p:nvSpPr>
          <p:spPr>
            <a:xfrm>
              <a:off x="6442616" y="2156365"/>
              <a:ext cx="726222" cy="4125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9" name="Rectangle 38">
              <a:extLst>
                <a:ext uri="{FF2B5EF4-FFF2-40B4-BE49-F238E27FC236}">
                  <a16:creationId xmlns:a16="http://schemas.microsoft.com/office/drawing/2014/main" id="{A8FE8A7E-266C-4484-92C1-A2FFD53279C0}"/>
                </a:ext>
              </a:extLst>
            </p:cNvPr>
            <p:cNvSpPr/>
            <p:nvPr/>
          </p:nvSpPr>
          <p:spPr>
            <a:xfrm>
              <a:off x="6442615" y="2630291"/>
              <a:ext cx="726222" cy="4125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0" name="Rectangle 39">
              <a:extLst>
                <a:ext uri="{FF2B5EF4-FFF2-40B4-BE49-F238E27FC236}">
                  <a16:creationId xmlns:a16="http://schemas.microsoft.com/office/drawing/2014/main" id="{E668F688-43CA-4E00-B44B-02099C5E4EF1}"/>
                </a:ext>
              </a:extLst>
            </p:cNvPr>
            <p:cNvSpPr/>
            <p:nvPr/>
          </p:nvSpPr>
          <p:spPr>
            <a:xfrm>
              <a:off x="6442614" y="3104217"/>
              <a:ext cx="726222" cy="4125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1" name="Rectangle 40">
              <a:extLst>
                <a:ext uri="{FF2B5EF4-FFF2-40B4-BE49-F238E27FC236}">
                  <a16:creationId xmlns:a16="http://schemas.microsoft.com/office/drawing/2014/main" id="{C420CF60-06E4-4AAB-B326-C16C2A94B4C3}"/>
                </a:ext>
              </a:extLst>
            </p:cNvPr>
            <p:cNvSpPr/>
            <p:nvPr/>
          </p:nvSpPr>
          <p:spPr>
            <a:xfrm>
              <a:off x="6442613" y="3578142"/>
              <a:ext cx="726222" cy="4125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grpSp>
      <p:sp>
        <p:nvSpPr>
          <p:cNvPr id="11" name="Freeform: Shape 10">
            <a:extLst>
              <a:ext uri="{FF2B5EF4-FFF2-40B4-BE49-F238E27FC236}">
                <a16:creationId xmlns:a16="http://schemas.microsoft.com/office/drawing/2014/main" id="{AB82A8ED-467D-4AC1-AF70-3DF162DD1385}"/>
              </a:ext>
            </a:extLst>
          </p:cNvPr>
          <p:cNvSpPr/>
          <p:nvPr/>
        </p:nvSpPr>
        <p:spPr>
          <a:xfrm>
            <a:off x="0" y="-9525"/>
            <a:ext cx="2981326" cy="1699103"/>
          </a:xfrm>
          <a:custGeom>
            <a:avLst/>
            <a:gdLst>
              <a:gd name="connsiteX0" fmla="*/ 0 w 2997200"/>
              <a:gd name="connsiteY0" fmla="*/ 0 h 1708150"/>
              <a:gd name="connsiteX1" fmla="*/ 0 w 2997200"/>
              <a:gd name="connsiteY1" fmla="*/ 1708150 h 1708150"/>
              <a:gd name="connsiteX2" fmla="*/ 2997200 w 2997200"/>
              <a:gd name="connsiteY2" fmla="*/ 0 h 1708150"/>
              <a:gd name="connsiteX3" fmla="*/ 0 w 2997200"/>
              <a:gd name="connsiteY3" fmla="*/ 0 h 1708150"/>
            </a:gdLst>
            <a:ahLst/>
            <a:cxnLst>
              <a:cxn ang="0">
                <a:pos x="connsiteX0" y="connsiteY0"/>
              </a:cxn>
              <a:cxn ang="0">
                <a:pos x="connsiteX1" y="connsiteY1"/>
              </a:cxn>
              <a:cxn ang="0">
                <a:pos x="connsiteX2" y="connsiteY2"/>
              </a:cxn>
              <a:cxn ang="0">
                <a:pos x="connsiteX3" y="connsiteY3"/>
              </a:cxn>
            </a:cxnLst>
            <a:rect l="l" t="t" r="r" b="b"/>
            <a:pathLst>
              <a:path w="2997200" h="1708150">
                <a:moveTo>
                  <a:pt x="0" y="0"/>
                </a:moveTo>
                <a:lnTo>
                  <a:pt x="0" y="1708150"/>
                </a:lnTo>
                <a:lnTo>
                  <a:pt x="2997200" y="0"/>
                </a:lnTo>
                <a:lnTo>
                  <a:pt x="0" y="0"/>
                </a:lnTo>
                <a:close/>
              </a:path>
            </a:pathLst>
          </a:custGeom>
          <a:solidFill>
            <a:srgbClr val="71C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a:extLst>
              <a:ext uri="{FF2B5EF4-FFF2-40B4-BE49-F238E27FC236}">
                <a16:creationId xmlns:a16="http://schemas.microsoft.com/office/drawing/2014/main" id="{709A0BED-3B07-453C-89DD-CF5DCE1178B9}"/>
              </a:ext>
            </a:extLst>
          </p:cNvPr>
          <p:cNvSpPr>
            <a:spLocks noGrp="1"/>
          </p:cNvSpPr>
          <p:nvPr>
            <p:ph type="title"/>
          </p:nvPr>
        </p:nvSpPr>
        <p:spPr>
          <a:xfrm>
            <a:off x="253678" y="108926"/>
            <a:ext cx="8353424" cy="402336"/>
          </a:xfrm>
        </p:spPr>
        <p:txBody>
          <a:bodyPr/>
          <a:lstStyle/>
          <a:p>
            <a:r>
              <a:rPr lang="en-US" dirty="0">
                <a:solidFill>
                  <a:schemeClr val="tx1">
                    <a:lumMod val="85000"/>
                    <a:lumOff val="15000"/>
                  </a:schemeClr>
                </a:solidFill>
              </a:rPr>
              <a:t>Find Out More</a:t>
            </a:r>
          </a:p>
        </p:txBody>
      </p:sp>
      <p:sp>
        <p:nvSpPr>
          <p:cNvPr id="20" name="Rectangle 19">
            <a:extLst>
              <a:ext uri="{FF2B5EF4-FFF2-40B4-BE49-F238E27FC236}">
                <a16:creationId xmlns:a16="http://schemas.microsoft.com/office/drawing/2014/main" id="{C5A2582B-2E0F-4A53-83A8-04954FA8CCFE}"/>
              </a:ext>
            </a:extLst>
          </p:cNvPr>
          <p:cNvSpPr/>
          <p:nvPr/>
        </p:nvSpPr>
        <p:spPr>
          <a:xfrm>
            <a:off x="-4378110" y="3440336"/>
            <a:ext cx="2139950" cy="97956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grpSp>
        <p:nvGrpSpPr>
          <p:cNvPr id="21" name="Group 20">
            <a:extLst>
              <a:ext uri="{FF2B5EF4-FFF2-40B4-BE49-F238E27FC236}">
                <a16:creationId xmlns:a16="http://schemas.microsoft.com/office/drawing/2014/main" id="{CF242BD2-7897-42D4-88B2-8A175060A1D0}"/>
              </a:ext>
            </a:extLst>
          </p:cNvPr>
          <p:cNvGrpSpPr/>
          <p:nvPr/>
        </p:nvGrpSpPr>
        <p:grpSpPr>
          <a:xfrm>
            <a:off x="2234318" y="1084394"/>
            <a:ext cx="4601323" cy="3450992"/>
            <a:chOff x="2234318" y="1084394"/>
            <a:chExt cx="4601323" cy="3450992"/>
          </a:xfrm>
        </p:grpSpPr>
        <p:sp>
          <p:nvSpPr>
            <p:cNvPr id="6" name="Freeform: Shape 5">
              <a:extLst>
                <a:ext uri="{FF2B5EF4-FFF2-40B4-BE49-F238E27FC236}">
                  <a16:creationId xmlns:a16="http://schemas.microsoft.com/office/drawing/2014/main" id="{3B37A7F6-C6D3-4463-B772-FBB99E3887B6}"/>
                </a:ext>
              </a:extLst>
            </p:cNvPr>
            <p:cNvSpPr/>
            <p:nvPr/>
          </p:nvSpPr>
          <p:spPr>
            <a:xfrm>
              <a:off x="5291742" y="2193224"/>
              <a:ext cx="84668" cy="347134"/>
            </a:xfrm>
            <a:custGeom>
              <a:avLst/>
              <a:gdLst>
                <a:gd name="connsiteX0" fmla="*/ 0 w 71967"/>
                <a:gd name="connsiteY0" fmla="*/ 0 h 347134"/>
                <a:gd name="connsiteX1" fmla="*/ 63500 w 71967"/>
                <a:gd name="connsiteY1" fmla="*/ 131234 h 347134"/>
                <a:gd name="connsiteX2" fmla="*/ 71967 w 71967"/>
                <a:gd name="connsiteY2" fmla="*/ 169334 h 347134"/>
                <a:gd name="connsiteX3" fmla="*/ 71967 w 71967"/>
                <a:gd name="connsiteY3" fmla="*/ 232834 h 347134"/>
                <a:gd name="connsiteX4" fmla="*/ 67734 w 71967"/>
                <a:gd name="connsiteY4" fmla="*/ 262467 h 347134"/>
                <a:gd name="connsiteX5" fmla="*/ 67734 w 71967"/>
                <a:gd name="connsiteY5" fmla="*/ 296334 h 347134"/>
                <a:gd name="connsiteX6" fmla="*/ 50800 w 71967"/>
                <a:gd name="connsiteY6" fmla="*/ 321734 h 347134"/>
                <a:gd name="connsiteX7" fmla="*/ 16934 w 71967"/>
                <a:gd name="connsiteY7" fmla="*/ 347134 h 347134"/>
                <a:gd name="connsiteX0" fmla="*/ 0 w 76201"/>
                <a:gd name="connsiteY0" fmla="*/ 0 h 364067"/>
                <a:gd name="connsiteX1" fmla="*/ 67734 w 76201"/>
                <a:gd name="connsiteY1" fmla="*/ 148167 h 364067"/>
                <a:gd name="connsiteX2" fmla="*/ 76201 w 76201"/>
                <a:gd name="connsiteY2" fmla="*/ 186267 h 364067"/>
                <a:gd name="connsiteX3" fmla="*/ 76201 w 76201"/>
                <a:gd name="connsiteY3" fmla="*/ 249767 h 364067"/>
                <a:gd name="connsiteX4" fmla="*/ 71968 w 76201"/>
                <a:gd name="connsiteY4" fmla="*/ 279400 h 364067"/>
                <a:gd name="connsiteX5" fmla="*/ 71968 w 76201"/>
                <a:gd name="connsiteY5" fmla="*/ 313267 h 364067"/>
                <a:gd name="connsiteX6" fmla="*/ 55034 w 76201"/>
                <a:gd name="connsiteY6" fmla="*/ 338667 h 364067"/>
                <a:gd name="connsiteX7" fmla="*/ 21168 w 76201"/>
                <a:gd name="connsiteY7" fmla="*/ 364067 h 364067"/>
                <a:gd name="connsiteX0" fmla="*/ 0 w 84668"/>
                <a:gd name="connsiteY0" fmla="*/ 0 h 347134"/>
                <a:gd name="connsiteX1" fmla="*/ 76201 w 84668"/>
                <a:gd name="connsiteY1" fmla="*/ 131234 h 347134"/>
                <a:gd name="connsiteX2" fmla="*/ 84668 w 84668"/>
                <a:gd name="connsiteY2" fmla="*/ 169334 h 347134"/>
                <a:gd name="connsiteX3" fmla="*/ 84668 w 84668"/>
                <a:gd name="connsiteY3" fmla="*/ 232834 h 347134"/>
                <a:gd name="connsiteX4" fmla="*/ 80435 w 84668"/>
                <a:gd name="connsiteY4" fmla="*/ 262467 h 347134"/>
                <a:gd name="connsiteX5" fmla="*/ 80435 w 84668"/>
                <a:gd name="connsiteY5" fmla="*/ 296334 h 347134"/>
                <a:gd name="connsiteX6" fmla="*/ 63501 w 84668"/>
                <a:gd name="connsiteY6" fmla="*/ 321734 h 347134"/>
                <a:gd name="connsiteX7" fmla="*/ 29635 w 84668"/>
                <a:gd name="connsiteY7" fmla="*/ 347134 h 347134"/>
                <a:gd name="connsiteX0" fmla="*/ 0 w 84668"/>
                <a:gd name="connsiteY0" fmla="*/ 0 h 347134"/>
                <a:gd name="connsiteX1" fmla="*/ 76201 w 84668"/>
                <a:gd name="connsiteY1" fmla="*/ 131234 h 347134"/>
                <a:gd name="connsiteX2" fmla="*/ 84668 w 84668"/>
                <a:gd name="connsiteY2" fmla="*/ 169334 h 347134"/>
                <a:gd name="connsiteX3" fmla="*/ 84668 w 84668"/>
                <a:gd name="connsiteY3" fmla="*/ 232834 h 347134"/>
                <a:gd name="connsiteX4" fmla="*/ 80435 w 84668"/>
                <a:gd name="connsiteY4" fmla="*/ 262467 h 347134"/>
                <a:gd name="connsiteX5" fmla="*/ 80435 w 84668"/>
                <a:gd name="connsiteY5" fmla="*/ 296334 h 347134"/>
                <a:gd name="connsiteX6" fmla="*/ 63501 w 84668"/>
                <a:gd name="connsiteY6" fmla="*/ 321734 h 347134"/>
                <a:gd name="connsiteX7" fmla="*/ 29635 w 84668"/>
                <a:gd name="connsiteY7" fmla="*/ 347134 h 34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668" h="347134">
                  <a:moveTo>
                    <a:pt x="0" y="0"/>
                  </a:moveTo>
                  <a:cubicBezTo>
                    <a:pt x="16933" y="22578"/>
                    <a:pt x="50801" y="87489"/>
                    <a:pt x="76201" y="131234"/>
                  </a:cubicBezTo>
                  <a:lnTo>
                    <a:pt x="84668" y="169334"/>
                  </a:lnTo>
                  <a:lnTo>
                    <a:pt x="84668" y="232834"/>
                  </a:lnTo>
                  <a:lnTo>
                    <a:pt x="80435" y="262467"/>
                  </a:lnTo>
                  <a:lnTo>
                    <a:pt x="80435" y="296334"/>
                  </a:lnTo>
                  <a:lnTo>
                    <a:pt x="63501" y="321734"/>
                  </a:lnTo>
                  <a:lnTo>
                    <a:pt x="29635" y="347134"/>
                  </a:lnTo>
                </a:path>
              </a:pathLst>
            </a:custGeom>
            <a:noFill/>
            <a:ln w="317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2F28CE46-A7C7-420A-B63B-BBB1D4C30F5E}"/>
                </a:ext>
              </a:extLst>
            </p:cNvPr>
            <p:cNvGrpSpPr/>
            <p:nvPr/>
          </p:nvGrpSpPr>
          <p:grpSpPr>
            <a:xfrm>
              <a:off x="2234318" y="1084394"/>
              <a:ext cx="4601323" cy="3450992"/>
              <a:chOff x="2234318" y="1084394"/>
              <a:chExt cx="4601323" cy="3450992"/>
            </a:xfrm>
          </p:grpSpPr>
          <p:pic>
            <p:nvPicPr>
              <p:cNvPr id="27" name="Picture 2" descr="https://texasbutterflyranch.com/wp-content/uploads/2016/06/Slide1.jpg">
                <a:extLst>
                  <a:ext uri="{FF2B5EF4-FFF2-40B4-BE49-F238E27FC236}">
                    <a16:creationId xmlns:a16="http://schemas.microsoft.com/office/drawing/2014/main" id="{5C3BF6D2-8626-4706-9600-1F8755EBDDCF}"/>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34318" y="1084394"/>
                <a:ext cx="4601323" cy="3450992"/>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1ECC5C5C-E34E-4202-A3CF-76E59DFC0970}"/>
                  </a:ext>
                </a:extLst>
              </p:cNvPr>
              <p:cNvGrpSpPr/>
              <p:nvPr/>
            </p:nvGrpSpPr>
            <p:grpSpPr>
              <a:xfrm>
                <a:off x="3895896" y="1191206"/>
                <a:ext cx="2525241" cy="2874048"/>
                <a:chOff x="3895896" y="1191206"/>
                <a:chExt cx="2525241" cy="2874048"/>
              </a:xfrm>
            </p:grpSpPr>
            <p:sp>
              <p:nvSpPr>
                <p:cNvPr id="3" name="Freeform: Shape 2">
                  <a:extLst>
                    <a:ext uri="{FF2B5EF4-FFF2-40B4-BE49-F238E27FC236}">
                      <a16:creationId xmlns:a16="http://schemas.microsoft.com/office/drawing/2014/main" id="{2BE99118-FDAE-40E0-A915-A5544EFBD0A8}"/>
                    </a:ext>
                  </a:extLst>
                </p:cNvPr>
                <p:cNvSpPr/>
                <p:nvPr/>
              </p:nvSpPr>
              <p:spPr>
                <a:xfrm>
                  <a:off x="4732943" y="2032358"/>
                  <a:ext cx="592667" cy="1909233"/>
                </a:xfrm>
                <a:custGeom>
                  <a:avLst/>
                  <a:gdLst>
                    <a:gd name="connsiteX0" fmla="*/ 554567 w 592667"/>
                    <a:gd name="connsiteY0" fmla="*/ 0 h 1909233"/>
                    <a:gd name="connsiteX1" fmla="*/ 554567 w 592667"/>
                    <a:gd name="connsiteY1" fmla="*/ 84666 h 1909233"/>
                    <a:gd name="connsiteX2" fmla="*/ 558800 w 592667"/>
                    <a:gd name="connsiteY2" fmla="*/ 165100 h 1909233"/>
                    <a:gd name="connsiteX3" fmla="*/ 524934 w 592667"/>
                    <a:gd name="connsiteY3" fmla="*/ 228600 h 1909233"/>
                    <a:gd name="connsiteX4" fmla="*/ 516467 w 592667"/>
                    <a:gd name="connsiteY4" fmla="*/ 296333 h 1909233"/>
                    <a:gd name="connsiteX5" fmla="*/ 554567 w 592667"/>
                    <a:gd name="connsiteY5" fmla="*/ 423333 h 1909233"/>
                    <a:gd name="connsiteX6" fmla="*/ 588434 w 592667"/>
                    <a:gd name="connsiteY6" fmla="*/ 516466 h 1909233"/>
                    <a:gd name="connsiteX7" fmla="*/ 592667 w 592667"/>
                    <a:gd name="connsiteY7" fmla="*/ 571500 h 1909233"/>
                    <a:gd name="connsiteX8" fmla="*/ 571500 w 592667"/>
                    <a:gd name="connsiteY8" fmla="*/ 694266 h 1909233"/>
                    <a:gd name="connsiteX9" fmla="*/ 524934 w 592667"/>
                    <a:gd name="connsiteY9" fmla="*/ 800100 h 1909233"/>
                    <a:gd name="connsiteX10" fmla="*/ 486834 w 592667"/>
                    <a:gd name="connsiteY10" fmla="*/ 876300 h 1909233"/>
                    <a:gd name="connsiteX11" fmla="*/ 444500 w 592667"/>
                    <a:gd name="connsiteY11" fmla="*/ 956733 h 1909233"/>
                    <a:gd name="connsiteX12" fmla="*/ 448734 w 592667"/>
                    <a:gd name="connsiteY12" fmla="*/ 1024466 h 1909233"/>
                    <a:gd name="connsiteX13" fmla="*/ 402167 w 592667"/>
                    <a:gd name="connsiteY13" fmla="*/ 1176866 h 1909233"/>
                    <a:gd name="connsiteX14" fmla="*/ 351367 w 592667"/>
                    <a:gd name="connsiteY14" fmla="*/ 1240366 h 1909233"/>
                    <a:gd name="connsiteX15" fmla="*/ 249767 w 592667"/>
                    <a:gd name="connsiteY15" fmla="*/ 1325033 h 1909233"/>
                    <a:gd name="connsiteX16" fmla="*/ 182034 w 592667"/>
                    <a:gd name="connsiteY16" fmla="*/ 1397000 h 1909233"/>
                    <a:gd name="connsiteX17" fmla="*/ 139700 w 592667"/>
                    <a:gd name="connsiteY17" fmla="*/ 1413933 h 1909233"/>
                    <a:gd name="connsiteX18" fmla="*/ 110067 w 592667"/>
                    <a:gd name="connsiteY18" fmla="*/ 1468966 h 1909233"/>
                    <a:gd name="connsiteX19" fmla="*/ 80434 w 592667"/>
                    <a:gd name="connsiteY19" fmla="*/ 1579033 h 1909233"/>
                    <a:gd name="connsiteX20" fmla="*/ 55034 w 592667"/>
                    <a:gd name="connsiteY20" fmla="*/ 1659466 h 1909233"/>
                    <a:gd name="connsiteX21" fmla="*/ 42334 w 592667"/>
                    <a:gd name="connsiteY21" fmla="*/ 1752600 h 1909233"/>
                    <a:gd name="connsiteX22" fmla="*/ 0 w 592667"/>
                    <a:gd name="connsiteY22" fmla="*/ 1909233 h 190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92667" h="1909233">
                      <a:moveTo>
                        <a:pt x="554567" y="0"/>
                      </a:moveTo>
                      <a:lnTo>
                        <a:pt x="554567" y="84666"/>
                      </a:lnTo>
                      <a:lnTo>
                        <a:pt x="558800" y="165100"/>
                      </a:lnTo>
                      <a:lnTo>
                        <a:pt x="524934" y="228600"/>
                      </a:lnTo>
                      <a:lnTo>
                        <a:pt x="516467" y="296333"/>
                      </a:lnTo>
                      <a:lnTo>
                        <a:pt x="554567" y="423333"/>
                      </a:lnTo>
                      <a:lnTo>
                        <a:pt x="588434" y="516466"/>
                      </a:lnTo>
                      <a:lnTo>
                        <a:pt x="592667" y="571500"/>
                      </a:lnTo>
                      <a:lnTo>
                        <a:pt x="571500" y="694266"/>
                      </a:lnTo>
                      <a:lnTo>
                        <a:pt x="524934" y="800100"/>
                      </a:lnTo>
                      <a:lnTo>
                        <a:pt x="486834" y="876300"/>
                      </a:lnTo>
                      <a:lnTo>
                        <a:pt x="444500" y="956733"/>
                      </a:lnTo>
                      <a:lnTo>
                        <a:pt x="448734" y="1024466"/>
                      </a:lnTo>
                      <a:lnTo>
                        <a:pt x="402167" y="1176866"/>
                      </a:lnTo>
                      <a:lnTo>
                        <a:pt x="351367" y="1240366"/>
                      </a:lnTo>
                      <a:lnTo>
                        <a:pt x="249767" y="1325033"/>
                      </a:lnTo>
                      <a:lnTo>
                        <a:pt x="182034" y="1397000"/>
                      </a:lnTo>
                      <a:lnTo>
                        <a:pt x="139700" y="1413933"/>
                      </a:lnTo>
                      <a:lnTo>
                        <a:pt x="110067" y="1468966"/>
                      </a:lnTo>
                      <a:lnTo>
                        <a:pt x="80434" y="1579033"/>
                      </a:lnTo>
                      <a:lnTo>
                        <a:pt x="55034" y="1659466"/>
                      </a:lnTo>
                      <a:lnTo>
                        <a:pt x="42334" y="1752600"/>
                      </a:lnTo>
                      <a:lnTo>
                        <a:pt x="0" y="1909233"/>
                      </a:lnTo>
                    </a:path>
                  </a:pathLst>
                </a:custGeom>
                <a:noFill/>
                <a:ln w="317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id="{68B480FB-CE63-442B-8953-0F5E71789C29}"/>
                    </a:ext>
                  </a:extLst>
                </p:cNvPr>
                <p:cNvSpPr/>
                <p:nvPr/>
              </p:nvSpPr>
              <p:spPr>
                <a:xfrm>
                  <a:off x="5259736" y="2521308"/>
                  <a:ext cx="122938" cy="105833"/>
                </a:xfrm>
                <a:prstGeom prst="star5">
                  <a:avLst/>
                </a:prstGeom>
                <a:solidFill>
                  <a:srgbClr val="F9792B"/>
                </a:solidFill>
                <a:ln w="63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0" name="Star: 5 Points 29">
                  <a:extLst>
                    <a:ext uri="{FF2B5EF4-FFF2-40B4-BE49-F238E27FC236}">
                      <a16:creationId xmlns:a16="http://schemas.microsoft.com/office/drawing/2014/main" id="{2B9C8A7B-9585-4A16-944F-DEC5FBB454FF}"/>
                    </a:ext>
                  </a:extLst>
                </p:cNvPr>
                <p:cNvSpPr/>
                <p:nvPr/>
              </p:nvSpPr>
              <p:spPr>
                <a:xfrm>
                  <a:off x="5159039" y="2826108"/>
                  <a:ext cx="122938" cy="105833"/>
                </a:xfrm>
                <a:prstGeom prst="star5">
                  <a:avLst/>
                </a:prstGeom>
                <a:solidFill>
                  <a:srgbClr val="F9792B"/>
                </a:solidFill>
                <a:ln w="63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1" name="Star: 5 Points 30">
                  <a:extLst>
                    <a:ext uri="{FF2B5EF4-FFF2-40B4-BE49-F238E27FC236}">
                      <a16:creationId xmlns:a16="http://schemas.microsoft.com/office/drawing/2014/main" id="{2FB6B926-E027-4BCC-8AC8-8DA0B3895BBD}"/>
                    </a:ext>
                  </a:extLst>
                </p:cNvPr>
                <p:cNvSpPr/>
                <p:nvPr/>
              </p:nvSpPr>
              <p:spPr>
                <a:xfrm>
                  <a:off x="4827936" y="3359508"/>
                  <a:ext cx="122938" cy="105833"/>
                </a:xfrm>
                <a:prstGeom prst="star5">
                  <a:avLst/>
                </a:prstGeom>
                <a:solidFill>
                  <a:srgbClr val="F9792B"/>
                </a:solidFill>
                <a:ln w="63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Star: 5 Points 31">
                  <a:extLst>
                    <a:ext uri="{FF2B5EF4-FFF2-40B4-BE49-F238E27FC236}">
                      <a16:creationId xmlns:a16="http://schemas.microsoft.com/office/drawing/2014/main" id="{2F3C550C-463C-409E-ABC2-EBEE49D77E87}"/>
                    </a:ext>
                  </a:extLst>
                </p:cNvPr>
                <p:cNvSpPr/>
                <p:nvPr/>
              </p:nvSpPr>
              <p:spPr>
                <a:xfrm>
                  <a:off x="4753596" y="3568303"/>
                  <a:ext cx="122938" cy="105833"/>
                </a:xfrm>
                <a:prstGeom prst="star5">
                  <a:avLst/>
                </a:prstGeom>
                <a:solidFill>
                  <a:srgbClr val="F9792B"/>
                </a:solidFill>
                <a:ln w="6350">
                  <a:solidFill>
                    <a:srgbClr val="0038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8" name="Rectangle 7">
                  <a:extLst>
                    <a:ext uri="{FF2B5EF4-FFF2-40B4-BE49-F238E27FC236}">
                      <a16:creationId xmlns:a16="http://schemas.microsoft.com/office/drawing/2014/main" id="{A1F35182-2DBB-48BC-8589-DEC9A86AB8BE}"/>
                    </a:ext>
                  </a:extLst>
                </p:cNvPr>
                <p:cNvSpPr/>
                <p:nvPr/>
              </p:nvSpPr>
              <p:spPr>
                <a:xfrm>
                  <a:off x="5435677" y="2387957"/>
                  <a:ext cx="651933" cy="372533"/>
                </a:xfrm>
                <a:prstGeom prst="rect">
                  <a:avLst/>
                </a:prstGeom>
                <a:solidFill>
                  <a:srgbClr val="F9792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3" name="Rectangle 32">
                  <a:extLst>
                    <a:ext uri="{FF2B5EF4-FFF2-40B4-BE49-F238E27FC236}">
                      <a16:creationId xmlns:a16="http://schemas.microsoft.com/office/drawing/2014/main" id="{136C24E1-11A5-4F2C-9ECD-0352186875A9}"/>
                    </a:ext>
                  </a:extLst>
                </p:cNvPr>
                <p:cNvSpPr/>
                <p:nvPr/>
              </p:nvSpPr>
              <p:spPr>
                <a:xfrm>
                  <a:off x="4163132" y="2982661"/>
                  <a:ext cx="651933" cy="370417"/>
                </a:xfrm>
                <a:prstGeom prst="rect">
                  <a:avLst/>
                </a:prstGeom>
                <a:solidFill>
                  <a:srgbClr val="F9792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4" name="Rectangle 33">
                  <a:extLst>
                    <a:ext uri="{FF2B5EF4-FFF2-40B4-BE49-F238E27FC236}">
                      <a16:creationId xmlns:a16="http://schemas.microsoft.com/office/drawing/2014/main" id="{7B036BBD-92D5-4992-8C10-3899CD39951C}"/>
                    </a:ext>
                  </a:extLst>
                </p:cNvPr>
                <p:cNvSpPr/>
                <p:nvPr/>
              </p:nvSpPr>
              <p:spPr>
                <a:xfrm>
                  <a:off x="4366845" y="2538663"/>
                  <a:ext cx="651933" cy="370417"/>
                </a:xfrm>
                <a:prstGeom prst="rect">
                  <a:avLst/>
                </a:prstGeom>
                <a:solidFill>
                  <a:srgbClr val="F9792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5" name="Rectangle 34">
                  <a:extLst>
                    <a:ext uri="{FF2B5EF4-FFF2-40B4-BE49-F238E27FC236}">
                      <a16:creationId xmlns:a16="http://schemas.microsoft.com/office/drawing/2014/main" id="{DFAFAC54-DDE4-44F4-814E-BB33F089ED76}"/>
                    </a:ext>
                  </a:extLst>
                </p:cNvPr>
                <p:cNvSpPr/>
                <p:nvPr/>
              </p:nvSpPr>
              <p:spPr>
                <a:xfrm>
                  <a:off x="4933988" y="3488664"/>
                  <a:ext cx="651933" cy="370417"/>
                </a:xfrm>
                <a:prstGeom prst="rect">
                  <a:avLst/>
                </a:prstGeom>
                <a:solidFill>
                  <a:srgbClr val="F9792B">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 name="Rectangle 9">
                  <a:extLst>
                    <a:ext uri="{FF2B5EF4-FFF2-40B4-BE49-F238E27FC236}">
                      <a16:creationId xmlns:a16="http://schemas.microsoft.com/office/drawing/2014/main" id="{83CC24A3-6932-47D5-91E5-485A932B5331}"/>
                    </a:ext>
                  </a:extLst>
                </p:cNvPr>
                <p:cNvSpPr/>
                <p:nvPr/>
              </p:nvSpPr>
              <p:spPr>
                <a:xfrm>
                  <a:off x="4753596" y="1191206"/>
                  <a:ext cx="1501774" cy="609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26" name="Picture 25">
                  <a:extLst>
                    <a:ext uri="{FF2B5EF4-FFF2-40B4-BE49-F238E27FC236}">
                      <a16:creationId xmlns:a16="http://schemas.microsoft.com/office/drawing/2014/main" id="{F717E546-A7B6-44C2-99FD-7FC37742DC4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38576" y="1566681"/>
                  <a:ext cx="506331" cy="506331"/>
                </a:xfrm>
                <a:prstGeom prst="rect">
                  <a:avLst/>
                </a:prstGeom>
              </p:spPr>
            </p:pic>
            <p:pic>
              <p:nvPicPr>
                <p:cNvPr id="60" name="Picture 59">
                  <a:extLst>
                    <a:ext uri="{FF2B5EF4-FFF2-40B4-BE49-F238E27FC236}">
                      <a16:creationId xmlns:a16="http://schemas.microsoft.com/office/drawing/2014/main" id="{E11E3B9F-6535-4E81-931B-BE28B856A86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90779" y="3389802"/>
                  <a:ext cx="362986" cy="675452"/>
                </a:xfrm>
                <a:prstGeom prst="rect">
                  <a:avLst/>
                </a:prstGeom>
              </p:spPr>
            </p:pic>
            <p:pic>
              <p:nvPicPr>
                <p:cNvPr id="62" name="Picture 61">
                  <a:extLst>
                    <a:ext uri="{FF2B5EF4-FFF2-40B4-BE49-F238E27FC236}">
                      <a16:creationId xmlns:a16="http://schemas.microsoft.com/office/drawing/2014/main" id="{39AD8FB4-302C-44E2-8B6F-29C6DE5187C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95896" y="2927589"/>
                  <a:ext cx="362986" cy="903720"/>
                </a:xfrm>
                <a:prstGeom prst="rect">
                  <a:avLst/>
                </a:prstGeom>
              </p:spPr>
            </p:pic>
            <p:pic>
              <p:nvPicPr>
                <p:cNvPr id="6144" name="Picture 6143">
                  <a:extLst>
                    <a:ext uri="{FF2B5EF4-FFF2-40B4-BE49-F238E27FC236}">
                      <a16:creationId xmlns:a16="http://schemas.microsoft.com/office/drawing/2014/main" id="{3863C514-09C2-44AD-9BBE-9FC57EAED3B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25887" y="2155651"/>
                  <a:ext cx="361114" cy="903720"/>
                </a:xfrm>
                <a:prstGeom prst="rect">
                  <a:avLst/>
                </a:prstGeom>
              </p:spPr>
            </p:pic>
            <p:pic>
              <p:nvPicPr>
                <p:cNvPr id="6147" name="Picture 6146">
                  <a:extLst>
                    <a:ext uri="{FF2B5EF4-FFF2-40B4-BE49-F238E27FC236}">
                      <a16:creationId xmlns:a16="http://schemas.microsoft.com/office/drawing/2014/main" id="{8D7A7BE2-EEFC-45CD-985E-FAD4FCD063B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16469" y="2143328"/>
                  <a:ext cx="269432" cy="851332"/>
                </a:xfrm>
                <a:prstGeom prst="rect">
                  <a:avLst/>
                </a:prstGeom>
              </p:spPr>
            </p:pic>
            <p:pic>
              <p:nvPicPr>
                <p:cNvPr id="17" name="Graphic 16">
                  <a:extLst>
                    <a:ext uri="{FF2B5EF4-FFF2-40B4-BE49-F238E27FC236}">
                      <a16:creationId xmlns:a16="http://schemas.microsoft.com/office/drawing/2014/main" id="{10DEB43B-9DF2-426B-8578-878AFF1C7C7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flipH="1">
                  <a:off x="5881232" y="1753810"/>
                  <a:ext cx="539905" cy="549696"/>
                </a:xfrm>
                <a:prstGeom prst="rect">
                  <a:avLst/>
                </a:prstGeom>
              </p:spPr>
            </p:pic>
          </p:grpSp>
        </p:grpSp>
      </p:grpSp>
      <p:pic>
        <p:nvPicPr>
          <p:cNvPr id="15" name="Picture 14">
            <a:extLst>
              <a:ext uri="{FF2B5EF4-FFF2-40B4-BE49-F238E27FC236}">
                <a16:creationId xmlns:a16="http://schemas.microsoft.com/office/drawing/2014/main" id="{FB128BC5-986F-485F-A983-FDC5935E4FE1}"/>
              </a:ext>
            </a:extLst>
          </p:cNvPr>
          <p:cNvPicPr>
            <a:picLocks noChangeAspect="1"/>
          </p:cNvPicPr>
          <p:nvPr/>
        </p:nvPicPr>
        <p:blipFill>
          <a:blip r:embed="rId14"/>
          <a:stretch>
            <a:fillRect/>
          </a:stretch>
        </p:blipFill>
        <p:spPr>
          <a:xfrm>
            <a:off x="457968" y="620047"/>
            <a:ext cx="2809875" cy="1676400"/>
          </a:xfrm>
          <a:prstGeom prst="rect">
            <a:avLst/>
          </a:prstGeom>
        </p:spPr>
      </p:pic>
      <p:pic>
        <p:nvPicPr>
          <p:cNvPr id="36" name="Graphic 35">
            <a:extLst>
              <a:ext uri="{FF2B5EF4-FFF2-40B4-BE49-F238E27FC236}">
                <a16:creationId xmlns:a16="http://schemas.microsoft.com/office/drawing/2014/main" id="{1F0FACE0-DB87-48C9-B26C-5395E13003E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39971" y="1718678"/>
            <a:ext cx="1352550" cy="1808146"/>
          </a:xfrm>
          <a:prstGeom prst="rect">
            <a:avLst/>
          </a:prstGeom>
        </p:spPr>
      </p:pic>
    </p:spTree>
    <p:extLst>
      <p:ext uri="{BB962C8B-B14F-4D97-AF65-F5344CB8AC3E}">
        <p14:creationId xmlns:p14="http://schemas.microsoft.com/office/powerpoint/2010/main" val="3612941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750" fill="hold"/>
                                        <p:tgtEl>
                                          <p:spTgt spid="15"/>
                                        </p:tgtEl>
                                      </p:cBhvr>
                                      <p:by x="190000" y="190000"/>
                                    </p:animScale>
                                  </p:childTnLst>
                                </p:cTn>
                              </p:par>
                              <p:par>
                                <p:cTn id="7" presetID="0" presetClass="path" presetSubtype="0" accel="50000" decel="50000" fill="hold" nodeType="withEffect">
                                  <p:stCondLst>
                                    <p:cond delay="0"/>
                                  </p:stCondLst>
                                  <p:childTnLst>
                                    <p:animMotion origin="layout" path="M -0.00122 -0.01081 L 0.21545 0.22037 " pathEditMode="relative" ptsTypes="AA">
                                      <p:cBhvr>
                                        <p:cTn id="8" dur="750" fill="hold"/>
                                        <p:tgtEl>
                                          <p:spTgt spid="15"/>
                                        </p:tgtEl>
                                        <p:attrNameLst>
                                          <p:attrName>ppt_x</p:attrName>
                                          <p:attrName>ppt_y</p:attrName>
                                        </p:attrNameLst>
                                      </p:cBhvr>
                                    </p:animMotion>
                                  </p:childTnLst>
                                </p:cTn>
                              </p:par>
                              <p:par>
                                <p:cTn id="9" presetID="10" presetClass="exit" presetSubtype="0" fill="hold" nodeType="withEffect">
                                  <p:stCondLst>
                                    <p:cond delay="250"/>
                                  </p:stCondLst>
                                  <p:childTnLst>
                                    <p:animEffect transition="out" filter="fade">
                                      <p:cBhvr>
                                        <p:cTn id="10" dur="750"/>
                                        <p:tgtEl>
                                          <p:spTgt spid="15"/>
                                        </p:tgtEl>
                                      </p:cBhvr>
                                    </p:animEffect>
                                    <p:set>
                                      <p:cBhvr>
                                        <p:cTn id="11" dur="1" fill="hold">
                                          <p:stCondLst>
                                            <p:cond delay="749"/>
                                          </p:stCondLst>
                                        </p:cTn>
                                        <p:tgtEl>
                                          <p:spTgt spid="15"/>
                                        </p:tgtEl>
                                        <p:attrNameLst>
                                          <p:attrName>style.visibility</p:attrName>
                                        </p:attrNameLst>
                                      </p:cBhvr>
                                      <p:to>
                                        <p:strVal val="hidden"/>
                                      </p:to>
                                    </p:set>
                                  </p:childTnLst>
                                </p:cTn>
                              </p:par>
                              <p:par>
                                <p:cTn id="12" presetID="10" presetClass="exit" presetSubtype="0" fill="hold" nodeType="withEffect">
                                  <p:stCondLst>
                                    <p:cond delay="250"/>
                                  </p:stCondLst>
                                  <p:childTnLst>
                                    <p:animEffect transition="out" filter="fade">
                                      <p:cBhvr>
                                        <p:cTn id="13" dur="750"/>
                                        <p:tgtEl>
                                          <p:spTgt spid="24"/>
                                        </p:tgtEl>
                                      </p:cBhvr>
                                    </p:animEffect>
                                    <p:set>
                                      <p:cBhvr>
                                        <p:cTn id="14" dur="1" fill="hold">
                                          <p:stCondLst>
                                            <p:cond delay="749"/>
                                          </p:stCondLst>
                                        </p:cTn>
                                        <p:tgtEl>
                                          <p:spTgt spid="24"/>
                                        </p:tgtEl>
                                        <p:attrNameLst>
                                          <p:attrName>style.visibility</p:attrName>
                                        </p:attrNameLst>
                                      </p:cBhvr>
                                      <p:to>
                                        <p:strVal val="hidden"/>
                                      </p:to>
                                    </p:set>
                                  </p:childTnLst>
                                </p:cTn>
                              </p:par>
                              <p:par>
                                <p:cTn id="15" presetID="10" presetClass="entr" presetSubtype="0" fill="hold" grpId="0" nodeType="withEffect">
                                  <p:stCondLst>
                                    <p:cond delay="25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2" presetClass="entr" presetSubtype="2" decel="1600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750" fill="hold"/>
                                        <p:tgtEl>
                                          <p:spTgt spid="12"/>
                                        </p:tgtEl>
                                        <p:attrNameLst>
                                          <p:attrName>ppt_x</p:attrName>
                                        </p:attrNameLst>
                                      </p:cBhvr>
                                      <p:tavLst>
                                        <p:tav tm="0">
                                          <p:val>
                                            <p:strVal val="1+#ppt_w/2"/>
                                          </p:val>
                                        </p:tav>
                                        <p:tav tm="100000">
                                          <p:val>
                                            <p:strVal val="#ppt_x"/>
                                          </p:val>
                                        </p:tav>
                                      </p:tavLst>
                                    </p:anim>
                                    <p:anim calcmode="lin" valueType="num">
                                      <p:cBhvr additive="base">
                                        <p:cTn id="21" dur="750" fill="hold"/>
                                        <p:tgtEl>
                                          <p:spTgt spid="12"/>
                                        </p:tgtEl>
                                        <p:attrNameLst>
                                          <p:attrName>ppt_y</p:attrName>
                                        </p:attrNameLst>
                                      </p:cBhvr>
                                      <p:tavLst>
                                        <p:tav tm="0">
                                          <p:val>
                                            <p:strVal val="#ppt_y"/>
                                          </p:val>
                                        </p:tav>
                                        <p:tav tm="100000">
                                          <p:val>
                                            <p:strVal val="#ppt_y"/>
                                          </p:val>
                                        </p:tav>
                                      </p:tavLst>
                                    </p:anim>
                                  </p:childTnLst>
                                </p:cTn>
                              </p:par>
                              <p:par>
                                <p:cTn id="22" presetID="10" presetClass="exit" presetSubtype="0" fill="hold" nodeType="withEffect">
                                  <p:stCondLst>
                                    <p:cond delay="250"/>
                                  </p:stCondLst>
                                  <p:childTnLst>
                                    <p:animEffect transition="out" filter="fade">
                                      <p:cBhvr>
                                        <p:cTn id="23" dur="750"/>
                                        <p:tgtEl>
                                          <p:spTgt spid="21"/>
                                        </p:tgtEl>
                                      </p:cBhvr>
                                    </p:animEffect>
                                    <p:set>
                                      <p:cBhvr>
                                        <p:cTn id="24" dur="1" fill="hold">
                                          <p:stCondLst>
                                            <p:cond delay="74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_rels/theme2.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Brand_template_4-9-20_NA_WIDE.pptx" id="{BA4C1AD1-CCEB-421D-B574-F8BFCEFCC5D6}" vid="{63F7132E-8C0A-4E8C-82EA-094DEF1F3D94}"/>
    </a:ext>
  </a:extLst>
</a:theme>
</file>

<file path=ppt/theme/theme2.xml><?xml version="1.0" encoding="utf-8"?>
<a:theme xmlns:a="http://schemas.openxmlformats.org/drawingml/2006/main" name="1_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Brand_template_4-9-20_NA_WIDE.pptx" id="{BA4C1AD1-CCEB-421D-B574-F8BFCEFCC5D6}" vid="{63F7132E-8C0A-4E8C-82EA-094DEF1F3D9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2527A6A0F46B9408218D2A85EB19692" ma:contentTypeVersion="13" ma:contentTypeDescription="Create a new document." ma:contentTypeScope="" ma:versionID="8c2084495163b0674d7da5320b994241">
  <xsd:schema xmlns:xsd="http://www.w3.org/2001/XMLSchema" xmlns:xs="http://www.w3.org/2001/XMLSchema" xmlns:p="http://schemas.microsoft.com/office/2006/metadata/properties" xmlns:ns3="b61d03f6-545e-4d08-a920-5354ad05af3e" xmlns:ns4="290901c5-74f2-4192-a86f-e8a768e10949" targetNamespace="http://schemas.microsoft.com/office/2006/metadata/properties" ma:root="true" ma:fieldsID="6745831b4964257be42faeb7fc530e26" ns3:_="" ns4:_="">
    <xsd:import namespace="b61d03f6-545e-4d08-a920-5354ad05af3e"/>
    <xsd:import namespace="290901c5-74f2-4192-a86f-e8a768e1094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1d03f6-545e-4d08-a920-5354ad05af3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0901c5-74f2-4192-a86f-e8a768e1094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42222E-1ED5-4C3B-84E4-0740CCA9B3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1d03f6-545e-4d08-a920-5354ad05af3e"/>
    <ds:schemaRef ds:uri="290901c5-74f2-4192-a86f-e8a768e109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D00FEB-8268-4E65-8965-8555F98441C4}">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b61d03f6-545e-4d08-a920-5354ad05af3e"/>
    <ds:schemaRef ds:uri="http://purl.org/dc/terms/"/>
    <ds:schemaRef ds:uri="http://schemas.openxmlformats.org/package/2006/metadata/core-properties"/>
    <ds:schemaRef ds:uri="290901c5-74f2-4192-a86f-e8a768e10949"/>
    <ds:schemaRef ds:uri="http://www.w3.org/XML/1998/namespace"/>
  </ds:schemaRefs>
</ds:datastoreItem>
</file>

<file path=customXml/itemProps3.xml><?xml version="1.0" encoding="utf-8"?>
<ds:datastoreItem xmlns:ds="http://schemas.openxmlformats.org/officeDocument/2006/customXml" ds:itemID="{9B070EC2-1E79-4469-B3E5-79E27703FC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EO-module-1-2</Template>
  <TotalTime>26733</TotalTime>
  <Words>409</Words>
  <Application>Microsoft Office PowerPoint</Application>
  <PresentationFormat>On-screen Show (16:9)</PresentationFormat>
  <Paragraphs>43</Paragraphs>
  <Slides>9</Slides>
  <Notes>3</Notes>
  <HiddenSlides>0</HiddenSlides>
  <MMClips>1</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0" baseType="lpstr">
      <vt:lpstr>Arial</vt:lpstr>
      <vt:lpstr>Bahnschrift SemiCondensed</vt:lpstr>
      <vt:lpstr>Calibri</vt:lpstr>
      <vt:lpstr>Franklin Gothic Book</vt:lpstr>
      <vt:lpstr>Franklin Gothic Demi</vt:lpstr>
      <vt:lpstr>Franklin Gothic Medium Cond</vt:lpstr>
      <vt:lpstr>Segoe MDL2 Assets</vt:lpstr>
      <vt:lpstr>Wingdings</vt:lpstr>
      <vt:lpstr>MASTER_powerpoint_template3_WIDESCREEN_SLANT</vt:lpstr>
      <vt:lpstr>1_MASTER_powerpoint_template3_WIDESCREEN_SLANT</vt:lpstr>
      <vt:lpstr>think-cell Slide</vt:lpstr>
      <vt:lpstr>Monarch Butterfly</vt:lpstr>
      <vt:lpstr>Did you Know?</vt:lpstr>
      <vt:lpstr>Fast Facts</vt:lpstr>
      <vt:lpstr>Fast Facts</vt:lpstr>
      <vt:lpstr>Fast Facts</vt:lpstr>
      <vt:lpstr>Fast Facts</vt:lpstr>
      <vt:lpstr>Fast Facts</vt:lpstr>
      <vt:lpstr>Find Out More</vt:lpstr>
      <vt:lpstr>Find Out More</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arch Engine Optimization (SEO)</dc:title>
  <dc:creator>Jake Leggett</dc:creator>
  <cp:lastModifiedBy>Rebekah Dobrasko</cp:lastModifiedBy>
  <cp:revision>268</cp:revision>
  <cp:lastPrinted>2019-12-20T16:02:39Z</cp:lastPrinted>
  <dcterms:created xsi:type="dcterms:W3CDTF">2020-07-21T18:06:11Z</dcterms:created>
  <dcterms:modified xsi:type="dcterms:W3CDTF">2021-03-25T18:29:0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527A6A0F46B9408218D2A85EB19692</vt:lpwstr>
  </property>
</Properties>
</file>